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7" r:id="rId2"/>
  </p:sldMasterIdLst>
  <p:notesMasterIdLst>
    <p:notesMasterId r:id="rId22"/>
  </p:notesMasterIdLst>
  <p:sldIdLst>
    <p:sldId id="329" r:id="rId3"/>
    <p:sldId id="332" r:id="rId4"/>
    <p:sldId id="334" r:id="rId5"/>
    <p:sldId id="328" r:id="rId6"/>
    <p:sldId id="314" r:id="rId7"/>
    <p:sldId id="316" r:id="rId8"/>
    <p:sldId id="317" r:id="rId9"/>
    <p:sldId id="318" r:id="rId10"/>
    <p:sldId id="321" r:id="rId11"/>
    <p:sldId id="333" r:id="rId12"/>
    <p:sldId id="325" r:id="rId13"/>
    <p:sldId id="326" r:id="rId14"/>
    <p:sldId id="2134805615" r:id="rId15"/>
    <p:sldId id="330" r:id="rId16"/>
    <p:sldId id="327" r:id="rId17"/>
    <p:sldId id="2134805613" r:id="rId18"/>
    <p:sldId id="359" r:id="rId19"/>
    <p:sldId id="2134805612" r:id="rId20"/>
    <p:sldId id="323" r:id="rId21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B0EE48F-3524-E347-2DA1-712B46B77FF9}" name="Benjamin Pareau Dumont Hojem" initials="BH" userId="S::benjamin.hojem@ngn.no::19e10026-4578-4b9d-a2fe-aecf73c9616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B280"/>
    <a:srgbClr val="EDEEF1"/>
    <a:srgbClr val="6495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F1DF012-3B0B-4D74-BCAD-F62624924369}" v="12" dt="2024-10-17T13:19:36.1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91" autoAdjust="0"/>
    <p:restoredTop sz="96327"/>
  </p:normalViewPr>
  <p:slideViewPr>
    <p:cSldViewPr snapToGrid="0" showGuides="1">
      <p:cViewPr varScale="1">
        <p:scale>
          <a:sx n="85" d="100"/>
          <a:sy n="85" d="100"/>
        </p:scale>
        <p:origin x="701" y="53"/>
      </p:cViewPr>
      <p:guideLst>
        <p:guide orient="horz" pos="2205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86" d="100"/>
          <a:sy n="86" d="100"/>
        </p:scale>
        <p:origin x="386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6365FB-8ED0-474A-BBF9-6684D95C18C5}" type="datetimeFigureOut">
              <a:rPr lang="nb-NO" smtClean="0"/>
              <a:t>18.10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474377-B1EE-A74B-BC71-2FDA304B4EA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85627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03379C-3794-4011-B03B-7D856EFFF9CE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6050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16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Front p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 descr="Et bilde som inneholder landskap, sky, gress, utendørs&#10;&#10;Automatisk generert beskrivelse">
            <a:extLst>
              <a:ext uri="{FF2B5EF4-FFF2-40B4-BE49-F238E27FC236}">
                <a16:creationId xmlns:a16="http://schemas.microsoft.com/office/drawing/2014/main" id="{237B2E5F-FB57-B3CC-63D3-D343C9D455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74042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BB6B19D-3A16-BE77-7ED9-48129B4B5CC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0" y="4196080"/>
            <a:ext cx="5616575" cy="1087120"/>
          </a:xfrm>
        </p:spPr>
        <p:txBody>
          <a:bodyPr anchor="b">
            <a:normAutofit/>
          </a:bodyPr>
          <a:lstStyle>
            <a:lvl1pPr algn="l">
              <a:defRPr sz="3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and insert title – max 2 lines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469270D-6633-AA31-BA46-A93234B24D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5288598"/>
            <a:ext cx="5616576" cy="55340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and insert subheading</a:t>
            </a:r>
          </a:p>
        </p:txBody>
      </p:sp>
      <p:pic>
        <p:nvPicPr>
          <p:cNvPr id="11" name="Bilde 10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F51A81EA-79CE-1514-0F8A-31DFEDA7B1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1473064" cy="184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05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&quot;NG Star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1436EDD4-8DD0-35B1-F8F4-D420748B65A4}"/>
              </a:ext>
            </a:extLst>
          </p:cNvPr>
          <p:cNvSpPr/>
          <p:nvPr userDrawn="1"/>
        </p:nvSpPr>
        <p:spPr>
          <a:xfrm>
            <a:off x="4167963" y="818707"/>
            <a:ext cx="7544612" cy="5597968"/>
          </a:xfrm>
          <a:prstGeom prst="rect">
            <a:avLst/>
          </a:prstGeom>
          <a:solidFill>
            <a:schemeClr val="accent5">
              <a:alpha val="25134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7" y="2306967"/>
            <a:ext cx="3492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4" y="1148316"/>
            <a:ext cx="3492000" cy="80223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2" y="2924175"/>
            <a:ext cx="3492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8C5ECE24-C579-780B-86AA-8EA6FC88324D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B5ABBE9-2149-3DD3-4AB2-0785502F02D0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9" name="Avrundet rektangel 8">
            <a:extLst>
              <a:ext uri="{FF2B5EF4-FFF2-40B4-BE49-F238E27FC236}">
                <a16:creationId xmlns:a16="http://schemas.microsoft.com/office/drawing/2014/main" id="{700D1958-A084-FA2F-735B-FE235DA431C4}"/>
              </a:ext>
            </a:extLst>
          </p:cNvPr>
          <p:cNvSpPr/>
          <p:nvPr userDrawn="1"/>
        </p:nvSpPr>
        <p:spPr>
          <a:xfrm>
            <a:off x="6943072" y="5347706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5DF335EA-18AC-396D-7A99-6CC9CCA4D66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9360" y="5432766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1" name="Avrundet rektangel 30">
            <a:extLst>
              <a:ext uri="{FF2B5EF4-FFF2-40B4-BE49-F238E27FC236}">
                <a16:creationId xmlns:a16="http://schemas.microsoft.com/office/drawing/2014/main" id="{53F1A02D-C04B-E946-B8DE-DAFFFCC351AF}"/>
              </a:ext>
            </a:extLst>
          </p:cNvPr>
          <p:cNvSpPr/>
          <p:nvPr userDrawn="1"/>
        </p:nvSpPr>
        <p:spPr>
          <a:xfrm>
            <a:off x="4511758" y="4210708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2" name="Plassholder for tekst 13">
            <a:extLst>
              <a:ext uri="{FF2B5EF4-FFF2-40B4-BE49-F238E27FC236}">
                <a16:creationId xmlns:a16="http://schemas.microsoft.com/office/drawing/2014/main" id="{D9778B02-662F-B7BF-DA6C-ACD2402DB2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38046" y="4295768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3" name="Avrundet rektangel 32">
            <a:extLst>
              <a:ext uri="{FF2B5EF4-FFF2-40B4-BE49-F238E27FC236}">
                <a16:creationId xmlns:a16="http://schemas.microsoft.com/office/drawing/2014/main" id="{B7DA620B-1792-B467-6B61-C6499448F92E}"/>
              </a:ext>
            </a:extLst>
          </p:cNvPr>
          <p:cNvSpPr/>
          <p:nvPr userDrawn="1"/>
        </p:nvSpPr>
        <p:spPr>
          <a:xfrm>
            <a:off x="9381458" y="4242605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4" name="Plassholder for tekst 13">
            <a:extLst>
              <a:ext uri="{FF2B5EF4-FFF2-40B4-BE49-F238E27FC236}">
                <a16:creationId xmlns:a16="http://schemas.microsoft.com/office/drawing/2014/main" id="{E07C9871-B45C-00C0-4141-4B60B1CE844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7746" y="4327665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5" name="Avrundet rektangel 34">
            <a:extLst>
              <a:ext uri="{FF2B5EF4-FFF2-40B4-BE49-F238E27FC236}">
                <a16:creationId xmlns:a16="http://schemas.microsoft.com/office/drawing/2014/main" id="{3A0DBD44-6C75-4026-4AA2-66FF3EA4671E}"/>
              </a:ext>
            </a:extLst>
          </p:cNvPr>
          <p:cNvSpPr/>
          <p:nvPr userDrawn="1"/>
        </p:nvSpPr>
        <p:spPr>
          <a:xfrm>
            <a:off x="9370827" y="2405352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6" name="Plassholder for tekst 13">
            <a:extLst>
              <a:ext uri="{FF2B5EF4-FFF2-40B4-BE49-F238E27FC236}">
                <a16:creationId xmlns:a16="http://schemas.microsoft.com/office/drawing/2014/main" id="{B26E17FD-A4AF-CE36-6E00-C435FE01B6E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397115" y="2490412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7" name="Avrundet rektangel 36">
            <a:extLst>
              <a:ext uri="{FF2B5EF4-FFF2-40B4-BE49-F238E27FC236}">
                <a16:creationId xmlns:a16="http://schemas.microsoft.com/office/drawing/2014/main" id="{8991C7D9-F372-B072-9C6C-5152D52FE046}"/>
              </a:ext>
            </a:extLst>
          </p:cNvPr>
          <p:cNvSpPr/>
          <p:nvPr userDrawn="1"/>
        </p:nvSpPr>
        <p:spPr>
          <a:xfrm>
            <a:off x="6946617" y="1315794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8" name="Plassholder for tekst 13">
            <a:extLst>
              <a:ext uri="{FF2B5EF4-FFF2-40B4-BE49-F238E27FC236}">
                <a16:creationId xmlns:a16="http://schemas.microsoft.com/office/drawing/2014/main" id="{2AD77D1F-0D61-D75A-FB10-8D58D24013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72905" y="1400854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9" name="Avrundet rektangel 38">
            <a:extLst>
              <a:ext uri="{FF2B5EF4-FFF2-40B4-BE49-F238E27FC236}">
                <a16:creationId xmlns:a16="http://schemas.microsoft.com/office/drawing/2014/main" id="{2C3F6A58-325B-56F0-CE97-220A472D56A7}"/>
              </a:ext>
            </a:extLst>
          </p:cNvPr>
          <p:cNvSpPr/>
          <p:nvPr userDrawn="1"/>
        </p:nvSpPr>
        <p:spPr>
          <a:xfrm>
            <a:off x="4522390" y="2381908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40" name="Plassholder for tekst 13">
            <a:extLst>
              <a:ext uri="{FF2B5EF4-FFF2-40B4-BE49-F238E27FC236}">
                <a16:creationId xmlns:a16="http://schemas.microsoft.com/office/drawing/2014/main" id="{BFFE79E1-D42D-03EC-5099-F54750F469A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48678" y="2466968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pic>
        <p:nvPicPr>
          <p:cNvPr id="45" name="Grafikk 44">
            <a:extLst>
              <a:ext uri="{FF2B5EF4-FFF2-40B4-BE49-F238E27FC236}">
                <a16:creationId xmlns:a16="http://schemas.microsoft.com/office/drawing/2014/main" id="{CA6806C9-C6D8-8020-83A9-AE6A6D80F9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27636" y="2044985"/>
            <a:ext cx="2664000" cy="3190118"/>
          </a:xfrm>
          <a:prstGeom prst="rect">
            <a:avLst/>
          </a:prstGeom>
        </p:spPr>
      </p:pic>
      <p:pic>
        <p:nvPicPr>
          <p:cNvPr id="6" name="Bilde 5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A33A67AA-A243-B570-FCEF-01D56C76718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838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&quot;NG Star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1436EDD4-8DD0-35B1-F8F4-D420748B65A4}"/>
              </a:ext>
            </a:extLst>
          </p:cNvPr>
          <p:cNvSpPr/>
          <p:nvPr userDrawn="1"/>
        </p:nvSpPr>
        <p:spPr>
          <a:xfrm>
            <a:off x="4167963" y="818707"/>
            <a:ext cx="7544612" cy="5597968"/>
          </a:xfrm>
          <a:prstGeom prst="rect">
            <a:avLst/>
          </a:prstGeom>
          <a:solidFill>
            <a:schemeClr val="accent5">
              <a:alpha val="25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7" y="2306967"/>
            <a:ext cx="3492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4" y="1148316"/>
            <a:ext cx="3492000" cy="80223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2" y="2924175"/>
            <a:ext cx="3492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8C5ECE24-C579-780B-86AA-8EA6FC88324D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8B5ABBE9-2149-3DD3-4AB2-0785502F02D0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31" name="Avrundet rektangel 30">
            <a:extLst>
              <a:ext uri="{FF2B5EF4-FFF2-40B4-BE49-F238E27FC236}">
                <a16:creationId xmlns:a16="http://schemas.microsoft.com/office/drawing/2014/main" id="{53F1A02D-C04B-E946-B8DE-DAFFFCC351AF}"/>
              </a:ext>
            </a:extLst>
          </p:cNvPr>
          <p:cNvSpPr/>
          <p:nvPr userDrawn="1"/>
        </p:nvSpPr>
        <p:spPr>
          <a:xfrm>
            <a:off x="6887095" y="5400026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2" name="Plassholder for tekst 13">
            <a:extLst>
              <a:ext uri="{FF2B5EF4-FFF2-40B4-BE49-F238E27FC236}">
                <a16:creationId xmlns:a16="http://schemas.microsoft.com/office/drawing/2014/main" id="{D9778B02-662F-B7BF-DA6C-ACD2402DB29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13383" y="5485086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5" name="Avrundet rektangel 34">
            <a:extLst>
              <a:ext uri="{FF2B5EF4-FFF2-40B4-BE49-F238E27FC236}">
                <a16:creationId xmlns:a16="http://schemas.microsoft.com/office/drawing/2014/main" id="{3A0DBD44-6C75-4026-4AA2-66FF3EA4671E}"/>
              </a:ext>
            </a:extLst>
          </p:cNvPr>
          <p:cNvSpPr/>
          <p:nvPr userDrawn="1"/>
        </p:nvSpPr>
        <p:spPr>
          <a:xfrm>
            <a:off x="8782249" y="1321026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36" name="Plassholder for tekst 13">
            <a:extLst>
              <a:ext uri="{FF2B5EF4-FFF2-40B4-BE49-F238E27FC236}">
                <a16:creationId xmlns:a16="http://schemas.microsoft.com/office/drawing/2014/main" id="{B26E17FD-A4AF-CE36-6E00-C435FE01B6E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08537" y="1406086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9" name="Avrundet rektangel 38">
            <a:extLst>
              <a:ext uri="{FF2B5EF4-FFF2-40B4-BE49-F238E27FC236}">
                <a16:creationId xmlns:a16="http://schemas.microsoft.com/office/drawing/2014/main" id="{2C3F6A58-325B-56F0-CE97-220A472D56A7}"/>
              </a:ext>
            </a:extLst>
          </p:cNvPr>
          <p:cNvSpPr/>
          <p:nvPr userDrawn="1"/>
        </p:nvSpPr>
        <p:spPr>
          <a:xfrm>
            <a:off x="5016375" y="1324741"/>
            <a:ext cx="2030818" cy="627321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40" name="Plassholder for tekst 13">
            <a:extLst>
              <a:ext uri="{FF2B5EF4-FFF2-40B4-BE49-F238E27FC236}">
                <a16:creationId xmlns:a16="http://schemas.microsoft.com/office/drawing/2014/main" id="{BFFE79E1-D42D-03EC-5099-F54750F469A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42663" y="1409801"/>
            <a:ext cx="1972634" cy="478465"/>
          </a:xfrm>
        </p:spPr>
        <p:txBody>
          <a:bodyPr lIns="36000"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C3689B65-4738-7FEB-D48E-37CA3FECC1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8751" y="2139032"/>
            <a:ext cx="4871662" cy="3107505"/>
          </a:xfrm>
          <a:prstGeom prst="rect">
            <a:avLst/>
          </a:prstGeom>
        </p:spPr>
      </p:pic>
      <p:pic>
        <p:nvPicPr>
          <p:cNvPr id="6" name="Bilde 5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E5FE6DD-EE9B-0399-3647-94AA967B147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195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 with narrow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5" y="2306967"/>
            <a:ext cx="406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8481695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2" y="2924175"/>
            <a:ext cx="4068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2" name="Plassholder for tekst 2">
            <a:extLst>
              <a:ext uri="{FF2B5EF4-FFF2-40B4-BE49-F238E27FC236}">
                <a16:creationId xmlns:a16="http://schemas.microsoft.com/office/drawing/2014/main" id="{F07255E0-C9A8-9E96-1D75-761F148E4861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850547" y="2306967"/>
            <a:ext cx="406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BCE4F8CB-859A-6545-F197-4E532F8B45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51134" y="2924175"/>
            <a:ext cx="4068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pic>
        <p:nvPicPr>
          <p:cNvPr id="6" name="Bilde 5" descr="Et bilde som inneholder person, klær, arbeidsantrekk, Manuell arbeider&#10;&#10;Automatisk generert beskrivelse">
            <a:extLst>
              <a:ext uri="{FF2B5EF4-FFF2-40B4-BE49-F238E27FC236}">
                <a16:creationId xmlns:a16="http://schemas.microsoft.com/office/drawing/2014/main" id="{3E957C9A-319A-35EF-BE36-A7E871AD47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4061" y="0"/>
            <a:ext cx="3062293" cy="6858000"/>
          </a:xfrm>
          <a:prstGeom prst="rect">
            <a:avLst/>
          </a:prstGeom>
        </p:spPr>
      </p:pic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C2E30221-89ED-A143-45B9-BAD6FE951A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2474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 with narrow option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5" y="2306967"/>
            <a:ext cx="3786367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8481695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2" y="2924175"/>
            <a:ext cx="3786367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7F1A4142-D23D-9D10-5B45-5D637B05618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748215" y="0"/>
            <a:ext cx="3453410" cy="6858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Click and insert optional photo</a:t>
            </a:r>
          </a:p>
        </p:txBody>
      </p:sp>
      <p:sp>
        <p:nvSpPr>
          <p:cNvPr id="2" name="Plassholder for tekst 2">
            <a:extLst>
              <a:ext uri="{FF2B5EF4-FFF2-40B4-BE49-F238E27FC236}">
                <a16:creationId xmlns:a16="http://schemas.microsoft.com/office/drawing/2014/main" id="{F07255E0-C9A8-9E96-1D75-761F148E4861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4632179" y="2306967"/>
            <a:ext cx="3786367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BCE4F8CB-859A-6545-F197-4E532F8B45A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632766" y="2924175"/>
            <a:ext cx="3786367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E734214A-4853-6300-BAD2-8504A885B9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7019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photo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6" y="2306967"/>
            <a:ext cx="550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56466"/>
            <a:ext cx="5504916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3" y="2924175"/>
            <a:ext cx="5508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– 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0DACEEF7-4CC9-F336-C5C0-67AA89C758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365125"/>
            <a:ext cx="5617097" cy="2997200"/>
          </a:xfrm>
          <a:prstGeom prst="roundRect">
            <a:avLst/>
          </a:prstGeom>
        </p:spPr>
      </p:pic>
      <p:pic>
        <p:nvPicPr>
          <p:cNvPr id="17" name="Bilde 16">
            <a:extLst>
              <a:ext uri="{FF2B5EF4-FFF2-40B4-BE49-F238E27FC236}">
                <a16:creationId xmlns:a16="http://schemas.microsoft.com/office/drawing/2014/main" id="{26D8BC0C-6A52-D6CF-95CF-15144A1DD8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06"/>
          <a:stretch/>
        </p:blipFill>
        <p:spPr>
          <a:xfrm>
            <a:off x="6096000" y="3417875"/>
            <a:ext cx="5616575" cy="2998800"/>
          </a:xfrm>
          <a:prstGeom prst="roundRect">
            <a:avLst/>
          </a:prstGeom>
        </p:spPr>
      </p:pic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D13C892E-08B5-003A-9435-A111A3A5791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199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optional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6" y="2306967"/>
            <a:ext cx="550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5504916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3" y="2924175"/>
            <a:ext cx="5508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5" name="Plassholder for bilde 3">
            <a:extLst>
              <a:ext uri="{FF2B5EF4-FFF2-40B4-BE49-F238E27FC236}">
                <a16:creationId xmlns:a16="http://schemas.microsoft.com/office/drawing/2014/main" id="{62407E4B-0850-E892-32B6-3E547AC31C5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096000" y="364277"/>
            <a:ext cx="5616575" cy="2976358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6" name="Plassholder for bilde 3">
            <a:extLst>
              <a:ext uri="{FF2B5EF4-FFF2-40B4-BE49-F238E27FC236}">
                <a16:creationId xmlns:a16="http://schemas.microsoft.com/office/drawing/2014/main" id="{170C5BE2-5955-5BD2-1BFE-74677F96309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096000" y="3440317"/>
            <a:ext cx="5616575" cy="2976358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pic>
        <p:nvPicPr>
          <p:cNvPr id="7" name="Bilde 6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5545DADC-A026-2E8C-3689-E1592A4AE5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1075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boxes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09D60B6-D8AE-AA91-0BAE-9BB534AECA1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9884BA4-DF88-2AFA-3933-CD896ED4B053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AF930DA6-8898-B3F0-DC80-783E37F79567}"/>
              </a:ext>
            </a:extLst>
          </p:cNvPr>
          <p:cNvSpPr txBox="1"/>
          <p:nvPr userDrawn="1"/>
        </p:nvSpPr>
        <p:spPr>
          <a:xfrm>
            <a:off x="11017580" y="66609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3" name="TekstSylinder 42">
            <a:extLst>
              <a:ext uri="{FF2B5EF4-FFF2-40B4-BE49-F238E27FC236}">
                <a16:creationId xmlns:a16="http://schemas.microsoft.com/office/drawing/2014/main" id="{20AE0452-17AA-DC09-BC2A-09BE5A4450F3}"/>
              </a:ext>
            </a:extLst>
          </p:cNvPr>
          <p:cNvSpPr txBox="1"/>
          <p:nvPr userDrawn="1"/>
        </p:nvSpPr>
        <p:spPr>
          <a:xfrm>
            <a:off x="11545186" y="66645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6BB8E25F-DF05-1244-7A51-01CFFD7BAB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312987"/>
            <a:ext cx="5616575" cy="4103687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– 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DE22249A-E945-B085-5BB3-7CD49B59741A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DA8861E9-1D13-8E86-2249-0F9A9F9E7138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7" name="Avrundet rektangel 6">
            <a:extLst>
              <a:ext uri="{FF2B5EF4-FFF2-40B4-BE49-F238E27FC236}">
                <a16:creationId xmlns:a16="http://schemas.microsoft.com/office/drawing/2014/main" id="{6530E8B4-612D-D4B3-F0D9-2B292FFE3065}"/>
              </a:ext>
            </a:extLst>
          </p:cNvPr>
          <p:cNvSpPr/>
          <p:nvPr userDrawn="1"/>
        </p:nvSpPr>
        <p:spPr>
          <a:xfrm>
            <a:off x="6249124" y="2323600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8" name="Plassholder for bilde 11">
            <a:extLst>
              <a:ext uri="{FF2B5EF4-FFF2-40B4-BE49-F238E27FC236}">
                <a16:creationId xmlns:a16="http://schemas.microsoft.com/office/drawing/2014/main" id="{D7DEF6F7-6B55-BAFE-8041-33E6B1709A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18813" y="2651492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C6B90A64-A1A3-242E-02CA-1342E3EFDB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1425" y="3923418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57706DD2-9B0D-D100-2B8B-EFBA0AF8CE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6374" y="4653398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2" name="Avrundet rektangel 11">
            <a:extLst>
              <a:ext uri="{FF2B5EF4-FFF2-40B4-BE49-F238E27FC236}">
                <a16:creationId xmlns:a16="http://schemas.microsoft.com/office/drawing/2014/main" id="{5975F42D-D8C3-0F84-6320-516D6E5850F0}"/>
              </a:ext>
            </a:extLst>
          </p:cNvPr>
          <p:cNvSpPr/>
          <p:nvPr userDrawn="1"/>
        </p:nvSpPr>
        <p:spPr>
          <a:xfrm>
            <a:off x="9132214" y="2327718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3" name="Plassholder for bilde 11">
            <a:extLst>
              <a:ext uri="{FF2B5EF4-FFF2-40B4-BE49-F238E27FC236}">
                <a16:creationId xmlns:a16="http://schemas.microsoft.com/office/drawing/2014/main" id="{0890E257-7BCB-A9F9-FCC6-BF35CC1D39C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01903" y="2655610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003CF012-883A-8F4A-9EC3-FDD6B8F9F7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74515" y="3927536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D7280338-1746-C20E-85B7-8B15B78E391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49464" y="4657516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64023ADD-BA1D-AFDA-2122-20050D6E34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4440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3 boxes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DAAC1D9-85AE-3077-5A43-B6757619C0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6" y="2312987"/>
            <a:ext cx="2606674" cy="4103687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</a:t>
            </a:r>
            <a:br>
              <a:rPr lang="en-GB" noProof="0" dirty="0"/>
            </a:br>
            <a:r>
              <a:rPr lang="en-GB" noProof="0" dirty="0"/>
              <a:t>– 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09D60B6-D8AE-AA91-0BAE-9BB534AECA1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9884BA4-DF88-2AFA-3933-CD896ED4B053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8" name="Avrundet rektangel 17">
            <a:extLst>
              <a:ext uri="{FF2B5EF4-FFF2-40B4-BE49-F238E27FC236}">
                <a16:creationId xmlns:a16="http://schemas.microsoft.com/office/drawing/2014/main" id="{851EDD72-CE1B-FBF5-C31C-A7127536298F}"/>
              </a:ext>
            </a:extLst>
          </p:cNvPr>
          <p:cNvSpPr/>
          <p:nvPr userDrawn="1"/>
        </p:nvSpPr>
        <p:spPr>
          <a:xfrm>
            <a:off x="6249124" y="2323600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Plassholder for bilde 11">
            <a:extLst>
              <a:ext uri="{FF2B5EF4-FFF2-40B4-BE49-F238E27FC236}">
                <a16:creationId xmlns:a16="http://schemas.microsoft.com/office/drawing/2014/main" id="{174028BD-4BCF-4C09-A6F4-69318344FCB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18813" y="2651492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2374AEC-E4A5-003A-143E-765A9132ED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1425" y="3923418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3E38CC84-2536-B16D-178C-70341AC659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6374" y="4653398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8" name="Avrundet rektangel 27">
            <a:extLst>
              <a:ext uri="{FF2B5EF4-FFF2-40B4-BE49-F238E27FC236}">
                <a16:creationId xmlns:a16="http://schemas.microsoft.com/office/drawing/2014/main" id="{1FEDC718-888F-912F-BACB-C69A7B60EA96}"/>
              </a:ext>
            </a:extLst>
          </p:cNvPr>
          <p:cNvSpPr/>
          <p:nvPr userDrawn="1"/>
        </p:nvSpPr>
        <p:spPr>
          <a:xfrm>
            <a:off x="9132214" y="2327718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9" name="Plassholder for bilde 11">
            <a:extLst>
              <a:ext uri="{FF2B5EF4-FFF2-40B4-BE49-F238E27FC236}">
                <a16:creationId xmlns:a16="http://schemas.microsoft.com/office/drawing/2014/main" id="{80C649A4-D415-D8E6-16D3-93450DF313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01903" y="2655610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30" name="Plassholder for tekst 13">
            <a:extLst>
              <a:ext uri="{FF2B5EF4-FFF2-40B4-BE49-F238E27FC236}">
                <a16:creationId xmlns:a16="http://schemas.microsoft.com/office/drawing/2014/main" id="{E6DD1929-53B7-2F9C-526D-8547E0EF70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74515" y="3927536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31" name="Plassholder for tekst 15">
            <a:extLst>
              <a:ext uri="{FF2B5EF4-FFF2-40B4-BE49-F238E27FC236}">
                <a16:creationId xmlns:a16="http://schemas.microsoft.com/office/drawing/2014/main" id="{88FE4165-D776-6858-DFCF-7F6197B37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49464" y="4657516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2" name="Avrundet rektangel 31">
            <a:extLst>
              <a:ext uri="{FF2B5EF4-FFF2-40B4-BE49-F238E27FC236}">
                <a16:creationId xmlns:a16="http://schemas.microsoft.com/office/drawing/2014/main" id="{7080B142-5413-7AE8-6619-F322F7F98E94}"/>
              </a:ext>
            </a:extLst>
          </p:cNvPr>
          <p:cNvSpPr/>
          <p:nvPr userDrawn="1"/>
        </p:nvSpPr>
        <p:spPr>
          <a:xfrm>
            <a:off x="3365040" y="2328431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3" name="Plassholder for bilde 11">
            <a:extLst>
              <a:ext uri="{FF2B5EF4-FFF2-40B4-BE49-F238E27FC236}">
                <a16:creationId xmlns:a16="http://schemas.microsoft.com/office/drawing/2014/main" id="{20EF9FFB-FB1E-1220-6F04-B33F76C867C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34729" y="2656323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34" name="Plassholder for tekst 13">
            <a:extLst>
              <a:ext uri="{FF2B5EF4-FFF2-40B4-BE49-F238E27FC236}">
                <a16:creationId xmlns:a16="http://schemas.microsoft.com/office/drawing/2014/main" id="{4AB81CFF-730C-84C9-BDF8-037D8E352D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7341" y="3928249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35" name="Plassholder for tekst 15">
            <a:extLst>
              <a:ext uri="{FF2B5EF4-FFF2-40B4-BE49-F238E27FC236}">
                <a16:creationId xmlns:a16="http://schemas.microsoft.com/office/drawing/2014/main" id="{9EB7CB7D-3DF2-5126-CB80-F3A2FAB8E9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82290" y="4658229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4" name="Bilde 3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B64E8E08-44E5-DF36-D56E-776E3323BA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7094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vrundet rektangel 9">
            <a:extLst>
              <a:ext uri="{FF2B5EF4-FFF2-40B4-BE49-F238E27FC236}">
                <a16:creationId xmlns:a16="http://schemas.microsoft.com/office/drawing/2014/main" id="{69138C2C-2B62-0286-73C8-2AFE214F805A}"/>
              </a:ext>
            </a:extLst>
          </p:cNvPr>
          <p:cNvSpPr/>
          <p:nvPr userDrawn="1"/>
        </p:nvSpPr>
        <p:spPr>
          <a:xfrm>
            <a:off x="6249124" y="2323606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pic>
        <p:nvPicPr>
          <p:cNvPr id="9" name="Bilde 8" descr="Et bilde som inneholder Font, logo, Grafikk, design&#10;&#10;Automatisk generert beskrivelse">
            <a:extLst>
              <a:ext uri="{FF2B5EF4-FFF2-40B4-BE49-F238E27FC236}">
                <a16:creationId xmlns:a16="http://schemas.microsoft.com/office/drawing/2014/main" id="{E2D0A2C6-8CFF-07EA-18C6-4C527205CE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4" y="1"/>
            <a:ext cx="684000" cy="854421"/>
          </a:xfrm>
          <a:prstGeom prst="rect">
            <a:avLst/>
          </a:prstGeom>
        </p:spPr>
      </p:pic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A2C793E8-D2BB-FD90-2C80-A0358D4085F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18813" y="2651498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EC3739DB-4B7B-41D7-B435-8E8D58109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1425" y="3923424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CE5C11FB-87FA-5C37-BA66-7601366075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6374" y="4653404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0" name="Avrundet rektangel 19">
            <a:extLst>
              <a:ext uri="{FF2B5EF4-FFF2-40B4-BE49-F238E27FC236}">
                <a16:creationId xmlns:a16="http://schemas.microsoft.com/office/drawing/2014/main" id="{31994E4F-5E52-C9A7-0C2A-C462BB030FD1}"/>
              </a:ext>
            </a:extLst>
          </p:cNvPr>
          <p:cNvSpPr/>
          <p:nvPr userDrawn="1"/>
        </p:nvSpPr>
        <p:spPr>
          <a:xfrm>
            <a:off x="9132214" y="2327724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1" name="Plassholder for bilde 11">
            <a:extLst>
              <a:ext uri="{FF2B5EF4-FFF2-40B4-BE49-F238E27FC236}">
                <a16:creationId xmlns:a16="http://schemas.microsoft.com/office/drawing/2014/main" id="{BDD966A3-2CB4-57A5-14C3-7C23862A44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01903" y="2655616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22" name="Plassholder for tekst 13">
            <a:extLst>
              <a:ext uri="{FF2B5EF4-FFF2-40B4-BE49-F238E27FC236}">
                <a16:creationId xmlns:a16="http://schemas.microsoft.com/office/drawing/2014/main" id="{FBB01FEA-3FF1-FB5C-C686-3D6D9A9859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74515" y="3927542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23" name="Plassholder for tekst 15">
            <a:extLst>
              <a:ext uri="{FF2B5EF4-FFF2-40B4-BE49-F238E27FC236}">
                <a16:creationId xmlns:a16="http://schemas.microsoft.com/office/drawing/2014/main" id="{AC3AB9C4-336A-296B-94F4-4A2A4B8006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49464" y="4657522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09D60B6-D8AE-AA91-0BAE-9BB534AECA1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9884BA4-DF88-2AFA-3933-CD896ED4B053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6" name="Avrundet rektangel 5">
            <a:extLst>
              <a:ext uri="{FF2B5EF4-FFF2-40B4-BE49-F238E27FC236}">
                <a16:creationId xmlns:a16="http://schemas.microsoft.com/office/drawing/2014/main" id="{FDF224EA-62A6-1A96-5B67-DD5CB50D6A4E}"/>
              </a:ext>
            </a:extLst>
          </p:cNvPr>
          <p:cNvSpPr/>
          <p:nvPr userDrawn="1"/>
        </p:nvSpPr>
        <p:spPr>
          <a:xfrm>
            <a:off x="3365040" y="2328437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7" name="Plassholder for bilde 11">
            <a:extLst>
              <a:ext uri="{FF2B5EF4-FFF2-40B4-BE49-F238E27FC236}">
                <a16:creationId xmlns:a16="http://schemas.microsoft.com/office/drawing/2014/main" id="{6D504ABE-940F-67AB-940C-3819063D467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34729" y="2656329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A835AE86-91BD-A98E-C972-83E7687A89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7341" y="3928255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F46FE821-1E9F-3E07-D736-DB5995766A6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82290" y="4658235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" name="Avrundet rektangel 3">
            <a:extLst>
              <a:ext uri="{FF2B5EF4-FFF2-40B4-BE49-F238E27FC236}">
                <a16:creationId xmlns:a16="http://schemas.microsoft.com/office/drawing/2014/main" id="{88456F8A-79E3-E31E-6EE7-DAB49BAFFD53}"/>
              </a:ext>
            </a:extLst>
          </p:cNvPr>
          <p:cNvSpPr/>
          <p:nvPr userDrawn="1"/>
        </p:nvSpPr>
        <p:spPr>
          <a:xfrm>
            <a:off x="479425" y="2320117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solidFill>
              <a:schemeClr val="accent4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5" name="Plassholder for bilde 11">
            <a:extLst>
              <a:ext uri="{FF2B5EF4-FFF2-40B4-BE49-F238E27FC236}">
                <a16:creationId xmlns:a16="http://schemas.microsoft.com/office/drawing/2014/main" id="{59899FC6-0AED-C724-9584-F5E4E204942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49114" y="2648009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4860FBA3-442F-A4E4-86E3-9ABE3D51EB3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1726" y="3919935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5667B114-F25F-1F61-A649-18E872F63CF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6675" y="4649915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49DD23C-9517-171B-820C-D7D63DD58F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9086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boxes - ligth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DAAC1D9-85AE-3077-5A43-B6757619C0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320165"/>
            <a:ext cx="5616575" cy="4096510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– 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</p:txBody>
      </p:sp>
      <p:sp>
        <p:nvSpPr>
          <p:cNvPr id="34" name="Avrundet rektangel 33">
            <a:extLst>
              <a:ext uri="{FF2B5EF4-FFF2-40B4-BE49-F238E27FC236}">
                <a16:creationId xmlns:a16="http://schemas.microsoft.com/office/drawing/2014/main" id="{F46255D6-96EB-16D3-A9DA-72196E1192B2}"/>
              </a:ext>
            </a:extLst>
          </p:cNvPr>
          <p:cNvSpPr/>
          <p:nvPr userDrawn="1"/>
        </p:nvSpPr>
        <p:spPr>
          <a:xfrm>
            <a:off x="6247622" y="2322099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5" name="Plassholder for bilde 11">
            <a:extLst>
              <a:ext uri="{FF2B5EF4-FFF2-40B4-BE49-F238E27FC236}">
                <a16:creationId xmlns:a16="http://schemas.microsoft.com/office/drawing/2014/main" id="{AE5A22AE-502C-9672-E982-8278921C3F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17311" y="2649991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36" name="Plassholder for tekst 13">
            <a:extLst>
              <a:ext uri="{FF2B5EF4-FFF2-40B4-BE49-F238E27FC236}">
                <a16:creationId xmlns:a16="http://schemas.microsoft.com/office/drawing/2014/main" id="{D4B12130-7B16-CAD3-EFB8-3DC47C46A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9923" y="3921917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37" name="Plassholder for tekst 15">
            <a:extLst>
              <a:ext uri="{FF2B5EF4-FFF2-40B4-BE49-F238E27FC236}">
                <a16:creationId xmlns:a16="http://schemas.microsoft.com/office/drawing/2014/main" id="{7FC90240-4671-81F2-B819-170D85C2B1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4872" y="4651897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8" name="Avrundet rektangel 37">
            <a:extLst>
              <a:ext uri="{FF2B5EF4-FFF2-40B4-BE49-F238E27FC236}">
                <a16:creationId xmlns:a16="http://schemas.microsoft.com/office/drawing/2014/main" id="{0423365D-26C9-87F1-978A-6444A0E7A28A}"/>
              </a:ext>
            </a:extLst>
          </p:cNvPr>
          <p:cNvSpPr/>
          <p:nvPr userDrawn="1"/>
        </p:nvSpPr>
        <p:spPr>
          <a:xfrm>
            <a:off x="9130712" y="2326217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9" name="Plassholder for bilde 11">
            <a:extLst>
              <a:ext uri="{FF2B5EF4-FFF2-40B4-BE49-F238E27FC236}">
                <a16:creationId xmlns:a16="http://schemas.microsoft.com/office/drawing/2014/main" id="{5CE72143-4592-9C5A-934D-483425D9AF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00401" y="2654109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40" name="Plassholder for tekst 13">
            <a:extLst>
              <a:ext uri="{FF2B5EF4-FFF2-40B4-BE49-F238E27FC236}">
                <a16:creationId xmlns:a16="http://schemas.microsoft.com/office/drawing/2014/main" id="{2285D653-2343-6EFD-189D-5A07E691AC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73013" y="3926035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41" name="Plassholder for tekst 15">
            <a:extLst>
              <a:ext uri="{FF2B5EF4-FFF2-40B4-BE49-F238E27FC236}">
                <a16:creationId xmlns:a16="http://schemas.microsoft.com/office/drawing/2014/main" id="{7CEE49DB-6FC0-FC8B-D1D9-4C91511886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47962" y="4656015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33F219D2-2D37-5754-7E8B-A3F2190A65B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6B4C3D70-AD96-ED9A-332A-CCE899C8719C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6" name="Bilde 5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24247F58-55ED-D649-5B9B-A399C26E13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4602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0DA4A993-92DB-908E-06AB-FFE18D951B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9144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479424 w 12192000"/>
              <a:gd name="connsiteY1" fmla="*/ 0 h 6858000"/>
              <a:gd name="connsiteX2" fmla="*/ 479424 w 12192000"/>
              <a:gd name="connsiteY2" fmla="*/ 1849120 h 6858000"/>
              <a:gd name="connsiteX3" fmla="*/ 1959715 w 12192000"/>
              <a:gd name="connsiteY3" fmla="*/ 1849120 h 6858000"/>
              <a:gd name="connsiteX4" fmla="*/ 1959715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479424" y="0"/>
                </a:lnTo>
                <a:lnTo>
                  <a:pt x="479424" y="1849120"/>
                </a:lnTo>
                <a:lnTo>
                  <a:pt x="1959715" y="1849120"/>
                </a:lnTo>
                <a:lnTo>
                  <a:pt x="195971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Click and insert photo</a:t>
            </a:r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6698D2FB-6B32-3FBE-C6B9-D412AFA19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0" y="4196080"/>
            <a:ext cx="5616575" cy="1087120"/>
          </a:xfrm>
        </p:spPr>
        <p:txBody>
          <a:bodyPr anchor="b">
            <a:normAutofit/>
          </a:bodyPr>
          <a:lstStyle>
            <a:lvl1pPr algn="l">
              <a:defRPr sz="3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and insert title – max 2 lines</a:t>
            </a:r>
          </a:p>
        </p:txBody>
      </p:sp>
      <p:sp>
        <p:nvSpPr>
          <p:cNvPr id="14" name="Undertittel 2">
            <a:extLst>
              <a:ext uri="{FF2B5EF4-FFF2-40B4-BE49-F238E27FC236}">
                <a16:creationId xmlns:a16="http://schemas.microsoft.com/office/drawing/2014/main" id="{8BE7BFFB-7C9C-42A5-7989-2AD9EA4D4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5288598"/>
            <a:ext cx="5616576" cy="55340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and insert subheading</a:t>
            </a:r>
          </a:p>
        </p:txBody>
      </p:sp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A91E9C49-4C0D-2083-114A-E1823115C0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1473064" cy="184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929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3 boxes - ligth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DAAC1D9-85AE-3077-5A43-B6757619C0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9963" y="2312988"/>
            <a:ext cx="2606674" cy="4103687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</a:t>
            </a:r>
            <a:br>
              <a:rPr lang="en-GB" noProof="0" dirty="0"/>
            </a:br>
            <a:r>
              <a:rPr lang="en-GB" noProof="0" dirty="0"/>
              <a:t>– 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09D60B6-D8AE-AA91-0BAE-9BB534AECA1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9884BA4-DF88-2AFA-3933-CD896ED4B053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8" name="Avrundet rektangel 17">
            <a:extLst>
              <a:ext uri="{FF2B5EF4-FFF2-40B4-BE49-F238E27FC236}">
                <a16:creationId xmlns:a16="http://schemas.microsoft.com/office/drawing/2014/main" id="{851EDD72-CE1B-FBF5-C31C-A7127536298F}"/>
              </a:ext>
            </a:extLst>
          </p:cNvPr>
          <p:cNvSpPr/>
          <p:nvPr userDrawn="1"/>
        </p:nvSpPr>
        <p:spPr>
          <a:xfrm>
            <a:off x="6249124" y="2323606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Plassholder for bilde 11">
            <a:extLst>
              <a:ext uri="{FF2B5EF4-FFF2-40B4-BE49-F238E27FC236}">
                <a16:creationId xmlns:a16="http://schemas.microsoft.com/office/drawing/2014/main" id="{174028BD-4BCF-4C09-A6F4-69318344FCB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18813" y="2651498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12374AEC-E4A5-003A-143E-765A9132ED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1425" y="3923424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3E38CC84-2536-B16D-178C-70341AC659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6374" y="4653404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8" name="Avrundet rektangel 27">
            <a:extLst>
              <a:ext uri="{FF2B5EF4-FFF2-40B4-BE49-F238E27FC236}">
                <a16:creationId xmlns:a16="http://schemas.microsoft.com/office/drawing/2014/main" id="{1FEDC718-888F-912F-BACB-C69A7B60EA96}"/>
              </a:ext>
            </a:extLst>
          </p:cNvPr>
          <p:cNvSpPr/>
          <p:nvPr userDrawn="1"/>
        </p:nvSpPr>
        <p:spPr>
          <a:xfrm>
            <a:off x="9132214" y="2327724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9" name="Plassholder for bilde 11">
            <a:extLst>
              <a:ext uri="{FF2B5EF4-FFF2-40B4-BE49-F238E27FC236}">
                <a16:creationId xmlns:a16="http://schemas.microsoft.com/office/drawing/2014/main" id="{80C649A4-D415-D8E6-16D3-93450DF313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01903" y="2655616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30" name="Plassholder for tekst 13">
            <a:extLst>
              <a:ext uri="{FF2B5EF4-FFF2-40B4-BE49-F238E27FC236}">
                <a16:creationId xmlns:a16="http://schemas.microsoft.com/office/drawing/2014/main" id="{E6DD1929-53B7-2F9C-526D-8547E0EF70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74515" y="3927542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31" name="Plassholder for tekst 15">
            <a:extLst>
              <a:ext uri="{FF2B5EF4-FFF2-40B4-BE49-F238E27FC236}">
                <a16:creationId xmlns:a16="http://schemas.microsoft.com/office/drawing/2014/main" id="{88FE4165-D776-6858-DFCF-7F6197B371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49464" y="4657522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2" name="Avrundet rektangel 31">
            <a:extLst>
              <a:ext uri="{FF2B5EF4-FFF2-40B4-BE49-F238E27FC236}">
                <a16:creationId xmlns:a16="http://schemas.microsoft.com/office/drawing/2014/main" id="{7080B142-5413-7AE8-6619-F322F7F98E94}"/>
              </a:ext>
            </a:extLst>
          </p:cNvPr>
          <p:cNvSpPr/>
          <p:nvPr userDrawn="1"/>
        </p:nvSpPr>
        <p:spPr>
          <a:xfrm>
            <a:off x="3365040" y="2328437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3" name="Plassholder for bilde 11">
            <a:extLst>
              <a:ext uri="{FF2B5EF4-FFF2-40B4-BE49-F238E27FC236}">
                <a16:creationId xmlns:a16="http://schemas.microsoft.com/office/drawing/2014/main" id="{20EF9FFB-FB1E-1220-6F04-B33F76C867C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34729" y="2656329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34" name="Plassholder for tekst 13">
            <a:extLst>
              <a:ext uri="{FF2B5EF4-FFF2-40B4-BE49-F238E27FC236}">
                <a16:creationId xmlns:a16="http://schemas.microsoft.com/office/drawing/2014/main" id="{4AB81CFF-730C-84C9-BDF8-037D8E352D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7341" y="3928255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35" name="Plassholder for tekst 15">
            <a:extLst>
              <a:ext uri="{FF2B5EF4-FFF2-40B4-BE49-F238E27FC236}">
                <a16:creationId xmlns:a16="http://schemas.microsoft.com/office/drawing/2014/main" id="{9EB7CB7D-3DF2-5126-CB80-F3A2FAB8E9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82290" y="4658235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4" name="Bilde 3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451B4102-BA04-DA79-2E99-B15FE11959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2482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- ligth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vrundet rektangel 9">
            <a:extLst>
              <a:ext uri="{FF2B5EF4-FFF2-40B4-BE49-F238E27FC236}">
                <a16:creationId xmlns:a16="http://schemas.microsoft.com/office/drawing/2014/main" id="{69138C2C-2B62-0286-73C8-2AFE214F805A}"/>
              </a:ext>
            </a:extLst>
          </p:cNvPr>
          <p:cNvSpPr/>
          <p:nvPr userDrawn="1"/>
        </p:nvSpPr>
        <p:spPr>
          <a:xfrm>
            <a:off x="6249124" y="2323607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A2C793E8-D2BB-FD90-2C80-A0358D4085F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18813" y="2651499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EC3739DB-4B7B-41D7-B435-8E8D58109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91425" y="3923425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CE5C11FB-87FA-5C37-BA66-7601366075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66374" y="4653405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0" name="Avrundet rektangel 19">
            <a:extLst>
              <a:ext uri="{FF2B5EF4-FFF2-40B4-BE49-F238E27FC236}">
                <a16:creationId xmlns:a16="http://schemas.microsoft.com/office/drawing/2014/main" id="{31994E4F-5E52-C9A7-0C2A-C462BB030FD1}"/>
              </a:ext>
            </a:extLst>
          </p:cNvPr>
          <p:cNvSpPr/>
          <p:nvPr userDrawn="1"/>
        </p:nvSpPr>
        <p:spPr>
          <a:xfrm>
            <a:off x="9132214" y="2327725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1" name="Plassholder for bilde 11">
            <a:extLst>
              <a:ext uri="{FF2B5EF4-FFF2-40B4-BE49-F238E27FC236}">
                <a16:creationId xmlns:a16="http://schemas.microsoft.com/office/drawing/2014/main" id="{BDD966A3-2CB4-57A5-14C3-7C23862A443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801903" y="2655617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22" name="Plassholder for tekst 13">
            <a:extLst>
              <a:ext uri="{FF2B5EF4-FFF2-40B4-BE49-F238E27FC236}">
                <a16:creationId xmlns:a16="http://schemas.microsoft.com/office/drawing/2014/main" id="{FBB01FEA-3FF1-FB5C-C686-3D6D9A9859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274515" y="3927543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23" name="Plassholder for tekst 15">
            <a:extLst>
              <a:ext uri="{FF2B5EF4-FFF2-40B4-BE49-F238E27FC236}">
                <a16:creationId xmlns:a16="http://schemas.microsoft.com/office/drawing/2014/main" id="{AC3AB9C4-336A-296B-94F4-4A2A4B8006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49464" y="4657523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09D60B6-D8AE-AA91-0BAE-9BB534AECA1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9884BA4-DF88-2AFA-3933-CD896ED4B053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6" name="Avrundet rektangel 5">
            <a:extLst>
              <a:ext uri="{FF2B5EF4-FFF2-40B4-BE49-F238E27FC236}">
                <a16:creationId xmlns:a16="http://schemas.microsoft.com/office/drawing/2014/main" id="{FDF224EA-62A6-1A96-5B67-DD5CB50D6A4E}"/>
              </a:ext>
            </a:extLst>
          </p:cNvPr>
          <p:cNvSpPr/>
          <p:nvPr userDrawn="1"/>
        </p:nvSpPr>
        <p:spPr>
          <a:xfrm>
            <a:off x="3365040" y="2328438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7" name="Plassholder for bilde 11">
            <a:extLst>
              <a:ext uri="{FF2B5EF4-FFF2-40B4-BE49-F238E27FC236}">
                <a16:creationId xmlns:a16="http://schemas.microsoft.com/office/drawing/2014/main" id="{6D504ABE-940F-67AB-940C-3819063D467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34729" y="2656330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A835AE86-91BD-A98E-C972-83E7687A89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507341" y="3928256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F46FE821-1E9F-3E07-D736-DB5995766A6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82290" y="4658236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" name="Avrundet rektangel 3">
            <a:extLst>
              <a:ext uri="{FF2B5EF4-FFF2-40B4-BE49-F238E27FC236}">
                <a16:creationId xmlns:a16="http://schemas.microsoft.com/office/drawing/2014/main" id="{88456F8A-79E3-E31E-6EE7-DAB49BAFFD53}"/>
              </a:ext>
            </a:extLst>
          </p:cNvPr>
          <p:cNvSpPr/>
          <p:nvPr userDrawn="1"/>
        </p:nvSpPr>
        <p:spPr>
          <a:xfrm>
            <a:off x="479425" y="2320118"/>
            <a:ext cx="2580361" cy="4069605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5" name="Plassholder for bilde 11">
            <a:extLst>
              <a:ext uri="{FF2B5EF4-FFF2-40B4-BE49-F238E27FC236}">
                <a16:creationId xmlns:a16="http://schemas.microsoft.com/office/drawing/2014/main" id="{59899FC6-0AED-C724-9584-F5E4E204942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49114" y="2648010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3" name="Plassholder for tekst 13">
            <a:extLst>
              <a:ext uri="{FF2B5EF4-FFF2-40B4-BE49-F238E27FC236}">
                <a16:creationId xmlns:a16="http://schemas.microsoft.com/office/drawing/2014/main" id="{4860FBA3-442F-A4E4-86E3-9ABE3D51EB3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1726" y="3919936"/>
            <a:ext cx="2329502" cy="627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two lines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5667B114-F25F-1F61-A649-18E872F63CF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6675" y="4649916"/>
            <a:ext cx="2342026" cy="1552575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1813478-92C5-7724-F94F-18C1B69152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12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opional photo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21" name="Platshållare för text 15">
            <a:extLst>
              <a:ext uri="{FF2B5EF4-FFF2-40B4-BE49-F238E27FC236}">
                <a16:creationId xmlns:a16="http://schemas.microsoft.com/office/drawing/2014/main" id="{16505379-27CA-45B4-C3F3-F07FCD06EA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5150928"/>
            <a:ext cx="2176312" cy="600075"/>
          </a:xfrm>
          <a:prstGeom prst="rect">
            <a:avLst/>
          </a:prstGeom>
        </p:spPr>
        <p:txBody>
          <a:bodyPr lIns="144000" rIns="144000" anchor="ctr">
            <a:normAutofit/>
          </a:bodyPr>
          <a:lstStyle>
            <a:lvl1pPr marL="7937" indent="0" algn="ctr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2" name="Platshållare för text 15">
            <a:extLst>
              <a:ext uri="{FF2B5EF4-FFF2-40B4-BE49-F238E27FC236}">
                <a16:creationId xmlns:a16="http://schemas.microsoft.com/office/drawing/2014/main" id="{07D3B554-AE2D-45F7-ACFA-67EBC0CBE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6257" y="5150928"/>
            <a:ext cx="2140622" cy="600075"/>
          </a:xfrm>
          <a:prstGeom prst="rect">
            <a:avLst/>
          </a:prstGeom>
        </p:spPr>
        <p:txBody>
          <a:bodyPr lIns="144000" rIns="144000" anchor="ctr">
            <a:normAutofit/>
          </a:bodyPr>
          <a:lstStyle>
            <a:lvl1pPr marL="7937" indent="0" algn="ctr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3" name="Platshållare för text 15">
            <a:extLst>
              <a:ext uri="{FF2B5EF4-FFF2-40B4-BE49-F238E27FC236}">
                <a16:creationId xmlns:a16="http://schemas.microsoft.com/office/drawing/2014/main" id="{B3CCA1AA-B789-3B58-AAA6-1832C97081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5764" y="5150928"/>
            <a:ext cx="2160078" cy="600075"/>
          </a:xfrm>
          <a:prstGeom prst="rect">
            <a:avLst/>
          </a:prstGeom>
        </p:spPr>
        <p:txBody>
          <a:bodyPr lIns="144000" rIns="144000" anchor="ctr">
            <a:normAutofit/>
          </a:bodyPr>
          <a:lstStyle>
            <a:lvl1pPr marL="7937" indent="0" algn="ctr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4" name="Platshållare för text 15">
            <a:extLst>
              <a:ext uri="{FF2B5EF4-FFF2-40B4-BE49-F238E27FC236}">
                <a16:creationId xmlns:a16="http://schemas.microsoft.com/office/drawing/2014/main" id="{CF2B510D-05DE-07BE-51FE-A3EB6AD305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58122" y="5150928"/>
            <a:ext cx="2154454" cy="600075"/>
          </a:xfrm>
          <a:prstGeom prst="rect">
            <a:avLst/>
          </a:prstGeom>
        </p:spPr>
        <p:txBody>
          <a:bodyPr lIns="144000" rIns="144000" anchor="ctr">
            <a:normAutofit/>
          </a:bodyPr>
          <a:lstStyle>
            <a:lvl1pPr marL="7937" indent="0" algn="ctr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Click and insert text</a:t>
            </a:r>
          </a:p>
        </p:txBody>
      </p:sp>
      <p:sp>
        <p:nvSpPr>
          <p:cNvPr id="6" name="Platshållare för text 15">
            <a:extLst>
              <a:ext uri="{FF2B5EF4-FFF2-40B4-BE49-F238E27FC236}">
                <a16:creationId xmlns:a16="http://schemas.microsoft.com/office/drawing/2014/main" id="{177D3C37-1343-FBFD-81E9-C2FA97C8E2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87397" y="5155298"/>
            <a:ext cx="2160078" cy="600075"/>
          </a:xfrm>
          <a:prstGeom prst="rect">
            <a:avLst/>
          </a:prstGeom>
        </p:spPr>
        <p:txBody>
          <a:bodyPr lIns="144000" rIns="144000" anchor="ctr">
            <a:normAutofit/>
          </a:bodyPr>
          <a:lstStyle>
            <a:lvl1pPr marL="7937" indent="0" algn="ctr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301ADA7A-DC26-0EE2-301E-01B9F3DB4C5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92125" y="2930025"/>
            <a:ext cx="2160000" cy="2160000"/>
          </a:xfrm>
          <a:prstGeom prst="round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 dirty="0"/>
              <a:t>Photo</a:t>
            </a:r>
          </a:p>
        </p:txBody>
      </p:sp>
      <p:sp>
        <p:nvSpPr>
          <p:cNvPr id="3" name="Plassholder for bilde 6">
            <a:extLst>
              <a:ext uri="{FF2B5EF4-FFF2-40B4-BE49-F238E27FC236}">
                <a16:creationId xmlns:a16="http://schemas.microsoft.com/office/drawing/2014/main" id="{DB2EA5E9-9F38-C9C7-3212-FB7658FA252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26025" y="2924175"/>
            <a:ext cx="2160000" cy="2160000"/>
          </a:xfrm>
          <a:prstGeom prst="round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 dirty="0"/>
              <a:t>Photo</a:t>
            </a:r>
          </a:p>
        </p:txBody>
      </p:sp>
      <p:sp>
        <p:nvSpPr>
          <p:cNvPr id="5" name="Plassholder for bilde 6">
            <a:extLst>
              <a:ext uri="{FF2B5EF4-FFF2-40B4-BE49-F238E27FC236}">
                <a16:creationId xmlns:a16="http://schemas.microsoft.com/office/drawing/2014/main" id="{3DF352E2-EBE7-763C-0AA9-79E07775DFB6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47225" y="2924175"/>
            <a:ext cx="2160000" cy="2160000"/>
          </a:xfrm>
          <a:prstGeom prst="round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 dirty="0"/>
              <a:t>Photo</a:t>
            </a:r>
          </a:p>
        </p:txBody>
      </p:sp>
      <p:sp>
        <p:nvSpPr>
          <p:cNvPr id="14" name="Plassholder for bilde 6">
            <a:extLst>
              <a:ext uri="{FF2B5EF4-FFF2-40B4-BE49-F238E27FC236}">
                <a16:creationId xmlns:a16="http://schemas.microsoft.com/office/drawing/2014/main" id="{2A5E48CE-D319-E72D-0B01-67490B66ECB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778125" y="2924175"/>
            <a:ext cx="2160000" cy="2160000"/>
          </a:xfrm>
          <a:prstGeom prst="round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 dirty="0"/>
              <a:t>Photo</a:t>
            </a:r>
          </a:p>
        </p:txBody>
      </p:sp>
      <p:sp>
        <p:nvSpPr>
          <p:cNvPr id="15" name="Plassholder for bilde 6">
            <a:extLst>
              <a:ext uri="{FF2B5EF4-FFF2-40B4-BE49-F238E27FC236}">
                <a16:creationId xmlns:a16="http://schemas.microsoft.com/office/drawing/2014/main" id="{1F32A5AC-0B47-74D2-C44D-7DEB17A044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299325" y="2924175"/>
            <a:ext cx="2160000" cy="2160000"/>
          </a:xfrm>
          <a:prstGeom prst="round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 dirty="0"/>
              <a:t>Photo</a:t>
            </a:r>
          </a:p>
        </p:txBody>
      </p:sp>
      <p:pic>
        <p:nvPicPr>
          <p:cNvPr id="8" name="Bilde 7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547EC6F5-7540-FE6E-A16F-8D309476C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3811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ircl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/>
              <a:t>Click and insert heading </a:t>
            </a:r>
            <a:br>
              <a:rPr lang="en-GB" noProof="0"/>
            </a:br>
            <a:r>
              <a:rPr lang="en-GB" noProof="0"/>
              <a:t>– max 2 lines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7" name="Ellips 10">
            <a:extLst>
              <a:ext uri="{FF2B5EF4-FFF2-40B4-BE49-F238E27FC236}">
                <a16:creationId xmlns:a16="http://schemas.microsoft.com/office/drawing/2014/main" id="{FA10EC8E-C961-C0D7-CE73-0A12E6A77B01}"/>
              </a:ext>
            </a:extLst>
          </p:cNvPr>
          <p:cNvSpPr/>
          <p:nvPr userDrawn="1"/>
        </p:nvSpPr>
        <p:spPr>
          <a:xfrm>
            <a:off x="484228" y="2919805"/>
            <a:ext cx="2160000" cy="2160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Ellips 11">
            <a:extLst>
              <a:ext uri="{FF2B5EF4-FFF2-40B4-BE49-F238E27FC236}">
                <a16:creationId xmlns:a16="http://schemas.microsoft.com/office/drawing/2014/main" id="{21E00839-CDBD-831C-1322-20EB4302DA3A}"/>
              </a:ext>
            </a:extLst>
          </p:cNvPr>
          <p:cNvSpPr/>
          <p:nvPr userDrawn="1"/>
        </p:nvSpPr>
        <p:spPr>
          <a:xfrm>
            <a:off x="9554523" y="2919805"/>
            <a:ext cx="2160000" cy="2160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Ellips 12">
            <a:extLst>
              <a:ext uri="{FF2B5EF4-FFF2-40B4-BE49-F238E27FC236}">
                <a16:creationId xmlns:a16="http://schemas.microsoft.com/office/drawing/2014/main" id="{F7031DE1-F252-BB1A-E6B9-7AC8C728EE3D}"/>
              </a:ext>
            </a:extLst>
          </p:cNvPr>
          <p:cNvSpPr/>
          <p:nvPr userDrawn="1"/>
        </p:nvSpPr>
        <p:spPr>
          <a:xfrm>
            <a:off x="5015863" y="2919805"/>
            <a:ext cx="2160000" cy="2160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0" name="Ellips 13">
            <a:extLst>
              <a:ext uri="{FF2B5EF4-FFF2-40B4-BE49-F238E27FC236}">
                <a16:creationId xmlns:a16="http://schemas.microsoft.com/office/drawing/2014/main" id="{D17C7A00-B08B-BC33-8FBF-B934D229CE24}"/>
              </a:ext>
            </a:extLst>
          </p:cNvPr>
          <p:cNvSpPr/>
          <p:nvPr userDrawn="1"/>
        </p:nvSpPr>
        <p:spPr>
          <a:xfrm>
            <a:off x="2782558" y="2919805"/>
            <a:ext cx="2160000" cy="2160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1" name="Platshållare för text 15">
            <a:extLst>
              <a:ext uri="{FF2B5EF4-FFF2-40B4-BE49-F238E27FC236}">
                <a16:creationId xmlns:a16="http://schemas.microsoft.com/office/drawing/2014/main" id="{16505379-27CA-45B4-C3F3-F07FCD06EA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3773086"/>
            <a:ext cx="2176312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2" name="Platshållare för text 15">
            <a:extLst>
              <a:ext uri="{FF2B5EF4-FFF2-40B4-BE49-F238E27FC236}">
                <a16:creationId xmlns:a16="http://schemas.microsoft.com/office/drawing/2014/main" id="{07D3B554-AE2D-45F7-ACFA-67EBC0CBE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86257" y="3773086"/>
            <a:ext cx="2140622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3" name="Platshållare för text 15">
            <a:extLst>
              <a:ext uri="{FF2B5EF4-FFF2-40B4-BE49-F238E27FC236}">
                <a16:creationId xmlns:a16="http://schemas.microsoft.com/office/drawing/2014/main" id="{B3CCA1AA-B789-3B58-AAA6-1832C97081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15764" y="3773086"/>
            <a:ext cx="2160078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4" name="Platshållare för text 15">
            <a:extLst>
              <a:ext uri="{FF2B5EF4-FFF2-40B4-BE49-F238E27FC236}">
                <a16:creationId xmlns:a16="http://schemas.microsoft.com/office/drawing/2014/main" id="{CF2B510D-05DE-07BE-51FE-A3EB6AD305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58122" y="3773086"/>
            <a:ext cx="2154454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5" name="Ellips 12">
            <a:extLst>
              <a:ext uri="{FF2B5EF4-FFF2-40B4-BE49-F238E27FC236}">
                <a16:creationId xmlns:a16="http://schemas.microsoft.com/office/drawing/2014/main" id="{8AEDDAC3-DDA3-72B8-696D-E0C678F53BF6}"/>
              </a:ext>
            </a:extLst>
          </p:cNvPr>
          <p:cNvSpPr/>
          <p:nvPr userDrawn="1"/>
        </p:nvSpPr>
        <p:spPr>
          <a:xfrm>
            <a:off x="7287496" y="2924175"/>
            <a:ext cx="2160000" cy="216000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Platshållare för text 15">
            <a:extLst>
              <a:ext uri="{FF2B5EF4-FFF2-40B4-BE49-F238E27FC236}">
                <a16:creationId xmlns:a16="http://schemas.microsoft.com/office/drawing/2014/main" id="{177D3C37-1343-FBFD-81E9-C2FA97C8E22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87397" y="3777456"/>
            <a:ext cx="2160078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478FF48E-46EA-3636-D9BF-DA5C8C2A5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1031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ircl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/>
              <a:t>Click and insert heading </a:t>
            </a:r>
            <a:br>
              <a:rPr lang="en-GB" noProof="0"/>
            </a:br>
            <a:r>
              <a:rPr lang="en-GB" noProof="0"/>
              <a:t>– max 2 lines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7" name="Ellips 10">
            <a:extLst>
              <a:ext uri="{FF2B5EF4-FFF2-40B4-BE49-F238E27FC236}">
                <a16:creationId xmlns:a16="http://schemas.microsoft.com/office/drawing/2014/main" id="{FA10EC8E-C961-C0D7-CE73-0A12E6A77B01}"/>
              </a:ext>
            </a:extLst>
          </p:cNvPr>
          <p:cNvSpPr/>
          <p:nvPr userDrawn="1"/>
        </p:nvSpPr>
        <p:spPr>
          <a:xfrm>
            <a:off x="745482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Ellips 11">
            <a:extLst>
              <a:ext uri="{FF2B5EF4-FFF2-40B4-BE49-F238E27FC236}">
                <a16:creationId xmlns:a16="http://schemas.microsoft.com/office/drawing/2014/main" id="{21E00839-CDBD-831C-1322-20EB4302DA3A}"/>
              </a:ext>
            </a:extLst>
          </p:cNvPr>
          <p:cNvSpPr/>
          <p:nvPr userDrawn="1"/>
        </p:nvSpPr>
        <p:spPr>
          <a:xfrm>
            <a:off x="9121386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Ellips 12">
            <a:extLst>
              <a:ext uri="{FF2B5EF4-FFF2-40B4-BE49-F238E27FC236}">
                <a16:creationId xmlns:a16="http://schemas.microsoft.com/office/drawing/2014/main" id="{F7031DE1-F252-BB1A-E6B9-7AC8C728EE3D}"/>
              </a:ext>
            </a:extLst>
          </p:cNvPr>
          <p:cNvSpPr/>
          <p:nvPr userDrawn="1"/>
        </p:nvSpPr>
        <p:spPr>
          <a:xfrm>
            <a:off x="6329418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0" name="Ellips 13">
            <a:extLst>
              <a:ext uri="{FF2B5EF4-FFF2-40B4-BE49-F238E27FC236}">
                <a16:creationId xmlns:a16="http://schemas.microsoft.com/office/drawing/2014/main" id="{D17C7A00-B08B-BC33-8FBF-B934D229CE24}"/>
              </a:ext>
            </a:extLst>
          </p:cNvPr>
          <p:cNvSpPr/>
          <p:nvPr userDrawn="1"/>
        </p:nvSpPr>
        <p:spPr>
          <a:xfrm>
            <a:off x="3537450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1" name="Platshållare för text 15">
            <a:extLst>
              <a:ext uri="{FF2B5EF4-FFF2-40B4-BE49-F238E27FC236}">
                <a16:creationId xmlns:a16="http://schemas.microsoft.com/office/drawing/2014/main" id="{16505379-27CA-45B4-C3F3-F07FCD06EA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5482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2" name="Platshållare för text 15">
            <a:extLst>
              <a:ext uri="{FF2B5EF4-FFF2-40B4-BE49-F238E27FC236}">
                <a16:creationId xmlns:a16="http://schemas.microsoft.com/office/drawing/2014/main" id="{07D3B554-AE2D-45F7-ACFA-67EBC0CBE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41148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3" name="Platshållare för text 15">
            <a:extLst>
              <a:ext uri="{FF2B5EF4-FFF2-40B4-BE49-F238E27FC236}">
                <a16:creationId xmlns:a16="http://schemas.microsoft.com/office/drawing/2014/main" id="{B3CCA1AA-B789-3B58-AAA6-1832C97081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9318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4" name="Platshållare för text 15">
            <a:extLst>
              <a:ext uri="{FF2B5EF4-FFF2-40B4-BE49-F238E27FC236}">
                <a16:creationId xmlns:a16="http://schemas.microsoft.com/office/drawing/2014/main" id="{CF2B510D-05DE-07BE-51FE-A3EB6AD305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24984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A1A3B2A-B4EF-C034-3FF8-A3C1E602EA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0705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ircl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/>
              <a:t>Click and insert heading </a:t>
            </a:r>
            <a:br>
              <a:rPr lang="en-GB" noProof="0"/>
            </a:br>
            <a:r>
              <a:rPr lang="en-GB" noProof="0"/>
              <a:t>– max 2 lines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7" name="Ellips 10">
            <a:extLst>
              <a:ext uri="{FF2B5EF4-FFF2-40B4-BE49-F238E27FC236}">
                <a16:creationId xmlns:a16="http://schemas.microsoft.com/office/drawing/2014/main" id="{FA10EC8E-C961-C0D7-CE73-0A12E6A77B01}"/>
              </a:ext>
            </a:extLst>
          </p:cNvPr>
          <p:cNvSpPr/>
          <p:nvPr userDrawn="1"/>
        </p:nvSpPr>
        <p:spPr>
          <a:xfrm>
            <a:off x="1212009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9" name="Ellips 12">
            <a:extLst>
              <a:ext uri="{FF2B5EF4-FFF2-40B4-BE49-F238E27FC236}">
                <a16:creationId xmlns:a16="http://schemas.microsoft.com/office/drawing/2014/main" id="{F7031DE1-F252-BB1A-E6B9-7AC8C728EE3D}"/>
              </a:ext>
            </a:extLst>
          </p:cNvPr>
          <p:cNvSpPr/>
          <p:nvPr userDrawn="1"/>
        </p:nvSpPr>
        <p:spPr>
          <a:xfrm>
            <a:off x="8643408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0" name="Ellips 13">
            <a:extLst>
              <a:ext uri="{FF2B5EF4-FFF2-40B4-BE49-F238E27FC236}">
                <a16:creationId xmlns:a16="http://schemas.microsoft.com/office/drawing/2014/main" id="{D17C7A00-B08B-BC33-8FBF-B934D229CE24}"/>
              </a:ext>
            </a:extLst>
          </p:cNvPr>
          <p:cNvSpPr/>
          <p:nvPr userDrawn="1"/>
        </p:nvSpPr>
        <p:spPr>
          <a:xfrm>
            <a:off x="4974359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1" name="Platshållare för text 15">
            <a:extLst>
              <a:ext uri="{FF2B5EF4-FFF2-40B4-BE49-F238E27FC236}">
                <a16:creationId xmlns:a16="http://schemas.microsoft.com/office/drawing/2014/main" id="{16505379-27CA-45B4-C3F3-F07FCD06EA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2009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2" name="Platshållare för text 15">
            <a:extLst>
              <a:ext uri="{FF2B5EF4-FFF2-40B4-BE49-F238E27FC236}">
                <a16:creationId xmlns:a16="http://schemas.microsoft.com/office/drawing/2014/main" id="{07D3B554-AE2D-45F7-ACFA-67EBC0CBE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78057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3" name="Platshållare för text 15">
            <a:extLst>
              <a:ext uri="{FF2B5EF4-FFF2-40B4-BE49-F238E27FC236}">
                <a16:creationId xmlns:a16="http://schemas.microsoft.com/office/drawing/2014/main" id="{B3CCA1AA-B789-3B58-AAA6-1832C97081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43308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2E772F7B-7F59-B68F-5C6A-64644BF1C5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2677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circl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/>
              <a:t>Click and insert heading </a:t>
            </a:r>
            <a:br>
              <a:rPr lang="en-GB" noProof="0"/>
            </a:br>
            <a:r>
              <a:rPr lang="en-GB" noProof="0"/>
              <a:t>– max 2 lines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9" name="Ellips 12">
            <a:extLst>
              <a:ext uri="{FF2B5EF4-FFF2-40B4-BE49-F238E27FC236}">
                <a16:creationId xmlns:a16="http://schemas.microsoft.com/office/drawing/2014/main" id="{F7031DE1-F252-BB1A-E6B9-7AC8C728EE3D}"/>
              </a:ext>
            </a:extLst>
          </p:cNvPr>
          <p:cNvSpPr/>
          <p:nvPr userDrawn="1"/>
        </p:nvSpPr>
        <p:spPr>
          <a:xfrm>
            <a:off x="9165921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0" name="Ellips 13">
            <a:extLst>
              <a:ext uri="{FF2B5EF4-FFF2-40B4-BE49-F238E27FC236}">
                <a16:creationId xmlns:a16="http://schemas.microsoft.com/office/drawing/2014/main" id="{D17C7A00-B08B-BC33-8FBF-B934D229CE24}"/>
              </a:ext>
            </a:extLst>
          </p:cNvPr>
          <p:cNvSpPr/>
          <p:nvPr userDrawn="1"/>
        </p:nvSpPr>
        <p:spPr>
          <a:xfrm>
            <a:off x="6429929" y="2919805"/>
            <a:ext cx="2281237" cy="2306637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2" name="Platshållare för text 15">
            <a:extLst>
              <a:ext uri="{FF2B5EF4-FFF2-40B4-BE49-F238E27FC236}">
                <a16:creationId xmlns:a16="http://schemas.microsoft.com/office/drawing/2014/main" id="{07D3B554-AE2D-45F7-ACFA-67EBC0CBE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33627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23" name="Platshållare för text 15">
            <a:extLst>
              <a:ext uri="{FF2B5EF4-FFF2-40B4-BE49-F238E27FC236}">
                <a16:creationId xmlns:a16="http://schemas.microsoft.com/office/drawing/2014/main" id="{B3CCA1AA-B789-3B58-AAA6-1832C97081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65821" y="3773086"/>
            <a:ext cx="2281237" cy="600075"/>
          </a:xfrm>
          <a:prstGeom prst="rect">
            <a:avLst/>
          </a:prstGeom>
        </p:spPr>
        <p:txBody>
          <a:bodyPr lIns="144000" rIns="144000" anchor="ctr"/>
          <a:lstStyle>
            <a:lvl1pPr marL="7937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and insert text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AA121849-B83C-D8AC-D9E6-52449081D5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320165"/>
            <a:ext cx="5616575" cy="4096510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35AD5C9F-F2ED-369C-64CB-547C69B1C8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023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nd 2 photos, light blue -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09D60B6-D8AE-AA91-0BAE-9BB534AECA1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9884BA4-DF88-2AFA-3933-CD896ED4B053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9" name="Avrundet rektangel 18">
            <a:extLst>
              <a:ext uri="{FF2B5EF4-FFF2-40B4-BE49-F238E27FC236}">
                <a16:creationId xmlns:a16="http://schemas.microsoft.com/office/drawing/2014/main" id="{32DF4119-FFEC-F537-441C-CB1CF701824A}"/>
              </a:ext>
            </a:extLst>
          </p:cNvPr>
          <p:cNvSpPr/>
          <p:nvPr userDrawn="1"/>
        </p:nvSpPr>
        <p:spPr>
          <a:xfrm>
            <a:off x="479425" y="4385017"/>
            <a:ext cx="5451475" cy="1764000"/>
          </a:xfrm>
          <a:prstGeom prst="roundRect">
            <a:avLst>
              <a:gd name="adj" fmla="val 10756"/>
            </a:avLst>
          </a:prstGeom>
          <a:solidFill>
            <a:schemeClr val="accent5">
              <a:alpha val="25098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4" name="Avrundet rektangel 23">
            <a:extLst>
              <a:ext uri="{FF2B5EF4-FFF2-40B4-BE49-F238E27FC236}">
                <a16:creationId xmlns:a16="http://schemas.microsoft.com/office/drawing/2014/main" id="{C3D4E8A7-4117-E376-EB07-D43E85BAEE50}"/>
              </a:ext>
            </a:extLst>
          </p:cNvPr>
          <p:cNvSpPr/>
          <p:nvPr userDrawn="1"/>
        </p:nvSpPr>
        <p:spPr>
          <a:xfrm>
            <a:off x="7696200" y="2319186"/>
            <a:ext cx="4016375" cy="1764000"/>
          </a:xfrm>
          <a:prstGeom prst="roundRect">
            <a:avLst>
              <a:gd name="adj" fmla="val 10756"/>
            </a:avLst>
          </a:prstGeom>
          <a:solidFill>
            <a:schemeClr val="accent5">
              <a:alpha val="25098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5" name="Plassholder for tekst 13">
            <a:extLst>
              <a:ext uri="{FF2B5EF4-FFF2-40B4-BE49-F238E27FC236}">
                <a16:creationId xmlns:a16="http://schemas.microsoft.com/office/drawing/2014/main" id="{4DD1E956-F803-3AAA-AE02-FAFDE62AC3F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2968" y="4428853"/>
            <a:ext cx="5220000" cy="584063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– max two lines</a:t>
            </a:r>
          </a:p>
        </p:txBody>
      </p:sp>
      <p:sp>
        <p:nvSpPr>
          <p:cNvPr id="28" name="Plassholder for tekst 15">
            <a:extLst>
              <a:ext uri="{FF2B5EF4-FFF2-40B4-BE49-F238E27FC236}">
                <a16:creationId xmlns:a16="http://schemas.microsoft.com/office/drawing/2014/main" id="{312EC04C-5D67-DB8B-062B-90C94A42BE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6673" y="5024250"/>
            <a:ext cx="5220000" cy="1042438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29" name="Plassholder for tekst 13">
            <a:extLst>
              <a:ext uri="{FF2B5EF4-FFF2-40B4-BE49-F238E27FC236}">
                <a16:creationId xmlns:a16="http://schemas.microsoft.com/office/drawing/2014/main" id="{4056AE50-B728-7A87-7A3E-0CF9EA0919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98964" y="2381774"/>
            <a:ext cx="3761393" cy="623310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– max two lines</a:t>
            </a:r>
          </a:p>
        </p:txBody>
      </p:sp>
      <p:sp>
        <p:nvSpPr>
          <p:cNvPr id="30" name="Plassholder for tekst 15">
            <a:extLst>
              <a:ext uri="{FF2B5EF4-FFF2-40B4-BE49-F238E27FC236}">
                <a16:creationId xmlns:a16="http://schemas.microsoft.com/office/drawing/2014/main" id="{EDDB0604-937B-B749-6A60-559E3F8CDE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804782" y="2994024"/>
            <a:ext cx="3761141" cy="1064831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16F67ADB-132A-D962-940E-D034871DBDD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8210" y="2312988"/>
            <a:ext cx="6904800" cy="1759936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5" name="Plassholder for bilde 3">
            <a:extLst>
              <a:ext uri="{FF2B5EF4-FFF2-40B4-BE49-F238E27FC236}">
                <a16:creationId xmlns:a16="http://schemas.microsoft.com/office/drawing/2014/main" id="{DFF356FF-DFAA-A91D-ECE3-92280D211F4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2537" y="4382387"/>
            <a:ext cx="5470037" cy="1764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ABAF4BE2-B792-15F4-9A12-DE0036EB29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67883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text boxes and two photos, light blue - n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09D60B6-D8AE-AA91-0BAE-9BB534AECA1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9884BA4-DF88-2AFA-3933-CD896ED4B053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16F67ADB-132A-D962-940E-D034871DBDD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867888" y="2312988"/>
            <a:ext cx="5305647" cy="1759936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5" name="Plassholder for bilde 3">
            <a:extLst>
              <a:ext uri="{FF2B5EF4-FFF2-40B4-BE49-F238E27FC236}">
                <a16:creationId xmlns:a16="http://schemas.microsoft.com/office/drawing/2014/main" id="{DFF356FF-DFAA-A91D-ECE3-92280D211F4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987209" y="4382387"/>
            <a:ext cx="7725365" cy="1764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 dirty="0"/>
              <a:t>Insert photo</a:t>
            </a:r>
          </a:p>
        </p:txBody>
      </p:sp>
      <p:sp>
        <p:nvSpPr>
          <p:cNvPr id="6" name="Avrundet rektangel 5">
            <a:extLst>
              <a:ext uri="{FF2B5EF4-FFF2-40B4-BE49-F238E27FC236}">
                <a16:creationId xmlns:a16="http://schemas.microsoft.com/office/drawing/2014/main" id="{4C6F3E9B-28D6-EAE6-67C4-26856D9729A8}"/>
              </a:ext>
            </a:extLst>
          </p:cNvPr>
          <p:cNvSpPr/>
          <p:nvPr userDrawn="1"/>
        </p:nvSpPr>
        <p:spPr>
          <a:xfrm>
            <a:off x="479425" y="2312988"/>
            <a:ext cx="2093654" cy="1764000"/>
          </a:xfrm>
          <a:prstGeom prst="roundRect">
            <a:avLst>
              <a:gd name="adj" fmla="val 10756"/>
            </a:avLst>
          </a:prstGeom>
          <a:solidFill>
            <a:schemeClr val="accent5">
              <a:alpha val="25098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7" name="Plassholder for tekst 13">
            <a:extLst>
              <a:ext uri="{FF2B5EF4-FFF2-40B4-BE49-F238E27FC236}">
                <a16:creationId xmlns:a16="http://schemas.microsoft.com/office/drawing/2014/main" id="{EA818045-4882-A133-92D3-C36132E94C3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92334" y="2356824"/>
            <a:ext cx="1866537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8" name="Plassholder for tekst 15">
            <a:extLst>
              <a:ext uri="{FF2B5EF4-FFF2-40B4-BE49-F238E27FC236}">
                <a16:creationId xmlns:a16="http://schemas.microsoft.com/office/drawing/2014/main" id="{F83E3AF1-3129-EDBF-1C47-1C206CD2AE7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6672" y="3345711"/>
            <a:ext cx="1866537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0" name="Avrundet rektangel 9">
            <a:extLst>
              <a:ext uri="{FF2B5EF4-FFF2-40B4-BE49-F238E27FC236}">
                <a16:creationId xmlns:a16="http://schemas.microsoft.com/office/drawing/2014/main" id="{84DD62BE-9A4C-6C46-3BAA-6CA0D077D0B4}"/>
              </a:ext>
            </a:extLst>
          </p:cNvPr>
          <p:cNvSpPr/>
          <p:nvPr userDrawn="1"/>
        </p:nvSpPr>
        <p:spPr>
          <a:xfrm>
            <a:off x="8441185" y="2312988"/>
            <a:ext cx="1494687" cy="1764000"/>
          </a:xfrm>
          <a:prstGeom prst="roundRect">
            <a:avLst>
              <a:gd name="adj" fmla="val 10756"/>
            </a:avLst>
          </a:prstGeom>
          <a:solidFill>
            <a:schemeClr val="accent5">
              <a:alpha val="25098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6FD5DCE2-97C2-FB65-3BCC-0D8DCB8CE2C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7982" y="2356824"/>
            <a:ext cx="1332545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2" name="Plassholder for tekst 15">
            <a:extLst>
              <a:ext uri="{FF2B5EF4-FFF2-40B4-BE49-F238E27FC236}">
                <a16:creationId xmlns:a16="http://schemas.microsoft.com/office/drawing/2014/main" id="{BE2E2873-8741-5C79-957F-4BCACB3B48F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522320" y="3345711"/>
            <a:ext cx="1332545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6" name="Avrundet rektangel 15">
            <a:extLst>
              <a:ext uri="{FF2B5EF4-FFF2-40B4-BE49-F238E27FC236}">
                <a16:creationId xmlns:a16="http://schemas.microsoft.com/office/drawing/2014/main" id="{C2D56DD5-A65A-3D88-BFB2-2287F5D8FAA7}"/>
              </a:ext>
            </a:extLst>
          </p:cNvPr>
          <p:cNvSpPr/>
          <p:nvPr userDrawn="1"/>
        </p:nvSpPr>
        <p:spPr>
          <a:xfrm>
            <a:off x="10221627" y="2327163"/>
            <a:ext cx="1494687" cy="1764000"/>
          </a:xfrm>
          <a:prstGeom prst="roundRect">
            <a:avLst>
              <a:gd name="adj" fmla="val 10756"/>
            </a:avLst>
          </a:prstGeom>
          <a:solidFill>
            <a:schemeClr val="accent5">
              <a:alpha val="25098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7" name="Plassholder for tekst 13">
            <a:extLst>
              <a:ext uri="{FF2B5EF4-FFF2-40B4-BE49-F238E27FC236}">
                <a16:creationId xmlns:a16="http://schemas.microsoft.com/office/drawing/2014/main" id="{5B08D726-9FE9-DBEB-9A05-A4BFF01187C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9271" y="2370999"/>
            <a:ext cx="1332545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8" name="Plassholder for tekst 15">
            <a:extLst>
              <a:ext uri="{FF2B5EF4-FFF2-40B4-BE49-F238E27FC236}">
                <a16:creationId xmlns:a16="http://schemas.microsoft.com/office/drawing/2014/main" id="{A03C7D37-50B0-3FCC-11DB-6E3ECA57C49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293609" y="3359886"/>
            <a:ext cx="1332545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0" name="Avrundet rektangel 19">
            <a:extLst>
              <a:ext uri="{FF2B5EF4-FFF2-40B4-BE49-F238E27FC236}">
                <a16:creationId xmlns:a16="http://schemas.microsoft.com/office/drawing/2014/main" id="{F6BDC915-B6F4-99FC-C39E-46D7EBBDEE2E}"/>
              </a:ext>
            </a:extLst>
          </p:cNvPr>
          <p:cNvSpPr/>
          <p:nvPr userDrawn="1"/>
        </p:nvSpPr>
        <p:spPr>
          <a:xfrm>
            <a:off x="486502" y="4368616"/>
            <a:ext cx="1494687" cy="1764000"/>
          </a:xfrm>
          <a:prstGeom prst="roundRect">
            <a:avLst>
              <a:gd name="adj" fmla="val 10756"/>
            </a:avLst>
          </a:prstGeom>
          <a:solidFill>
            <a:schemeClr val="accent5">
              <a:alpha val="25098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1" name="Plassholder for tekst 13">
            <a:extLst>
              <a:ext uri="{FF2B5EF4-FFF2-40B4-BE49-F238E27FC236}">
                <a16:creationId xmlns:a16="http://schemas.microsoft.com/office/drawing/2014/main" id="{BF32791B-6B01-D493-FDC7-23ECABA7E84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9411" y="4412452"/>
            <a:ext cx="1332545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2" name="Plassholder for tekst 15">
            <a:extLst>
              <a:ext uri="{FF2B5EF4-FFF2-40B4-BE49-F238E27FC236}">
                <a16:creationId xmlns:a16="http://schemas.microsoft.com/office/drawing/2014/main" id="{16E31AF7-669B-FEB4-AC6D-E0280289FCF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03749" y="5401339"/>
            <a:ext cx="1332545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23" name="Avrundet rektangel 22">
            <a:extLst>
              <a:ext uri="{FF2B5EF4-FFF2-40B4-BE49-F238E27FC236}">
                <a16:creationId xmlns:a16="http://schemas.microsoft.com/office/drawing/2014/main" id="{2C97722F-C65D-BB80-630E-AB4434CE973E}"/>
              </a:ext>
            </a:extLst>
          </p:cNvPr>
          <p:cNvSpPr/>
          <p:nvPr userDrawn="1"/>
        </p:nvSpPr>
        <p:spPr>
          <a:xfrm>
            <a:off x="2236856" y="4382791"/>
            <a:ext cx="1494687" cy="1764000"/>
          </a:xfrm>
          <a:prstGeom prst="roundRect">
            <a:avLst>
              <a:gd name="adj" fmla="val 10756"/>
            </a:avLst>
          </a:prstGeom>
          <a:solidFill>
            <a:schemeClr val="accent5">
              <a:alpha val="25098"/>
            </a:schemeClr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1" name="Plassholder for tekst 13">
            <a:extLst>
              <a:ext uri="{FF2B5EF4-FFF2-40B4-BE49-F238E27FC236}">
                <a16:creationId xmlns:a16="http://schemas.microsoft.com/office/drawing/2014/main" id="{791EBB1C-277C-C19E-DC3D-323DF04F99A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25435" y="4426627"/>
            <a:ext cx="1332545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2" name="Plassholder for tekst 15">
            <a:extLst>
              <a:ext uri="{FF2B5EF4-FFF2-40B4-BE49-F238E27FC236}">
                <a16:creationId xmlns:a16="http://schemas.microsoft.com/office/drawing/2014/main" id="{AF491429-4EE2-4406-7FC7-FAFC088C9BE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329773" y="5415514"/>
            <a:ext cx="1332545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B060BDE-CE46-F9EF-F554-D61ADA4AAC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4464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graph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iagram 3">
            <a:extLst>
              <a:ext uri="{FF2B5EF4-FFF2-40B4-BE49-F238E27FC236}">
                <a16:creationId xmlns:a16="http://schemas.microsoft.com/office/drawing/2014/main" id="{87B12C64-605B-5756-EDE4-0989AF77662D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224552" y="2312988"/>
            <a:ext cx="2707773" cy="26711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GB" noProof="0" dirty="0"/>
              <a:t>Graph – click and change numbers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5057" y="2316020"/>
            <a:ext cx="5526444" cy="604086"/>
          </a:xfrm>
        </p:spPr>
        <p:txBody>
          <a:bodyPr lIns="0" anchor="b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sub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94697" y="2924175"/>
            <a:ext cx="5508000" cy="3492500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79344CA8-D250-E193-0D1F-2AC47AF03F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1252" y="3618081"/>
            <a:ext cx="923561" cy="361443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nb-NO" dirty="0" err="1"/>
              <a:t>Number</a:t>
            </a:r>
            <a:endParaRPr lang="nb-NO" dirty="0"/>
          </a:p>
        </p:txBody>
      </p:sp>
      <p:sp>
        <p:nvSpPr>
          <p:cNvPr id="17" name="Plassholder for tekst 13">
            <a:extLst>
              <a:ext uri="{FF2B5EF4-FFF2-40B4-BE49-F238E27FC236}">
                <a16:creationId xmlns:a16="http://schemas.microsoft.com/office/drawing/2014/main" id="{A14EB74A-0455-3B56-E99B-0DF4B53100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21788" y="5000352"/>
            <a:ext cx="2700000" cy="360920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8" name="Plassholder for tekst 15">
            <a:extLst>
              <a:ext uri="{FF2B5EF4-FFF2-40B4-BE49-F238E27FC236}">
                <a16:creationId xmlns:a16="http://schemas.microsoft.com/office/drawing/2014/main" id="{1312A7AC-C18E-EB9A-30BF-9307956A8FA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8783" y="5384394"/>
            <a:ext cx="2700000" cy="1024831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71111884-226E-7E27-901D-AD52F08814E0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07593959-DFAD-ECFA-7A76-E420A18AE925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6" name="Plassholder for diagram 3">
            <a:extLst>
              <a:ext uri="{FF2B5EF4-FFF2-40B4-BE49-F238E27FC236}">
                <a16:creationId xmlns:a16="http://schemas.microsoft.com/office/drawing/2014/main" id="{D690E15D-BC21-50CF-EA9D-A3C95DE841A3}"/>
              </a:ext>
            </a:extLst>
          </p:cNvPr>
          <p:cNvSpPr>
            <a:spLocks noGrp="1"/>
          </p:cNvSpPr>
          <p:nvPr>
            <p:ph type="chart" sz="quarter" idx="25" hasCustomPrompt="1"/>
          </p:nvPr>
        </p:nvSpPr>
        <p:spPr>
          <a:xfrm>
            <a:off x="9004802" y="2320438"/>
            <a:ext cx="2707773" cy="26711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GB" noProof="0" dirty="0"/>
              <a:t>Graph – click and change numbers</a:t>
            </a:r>
          </a:p>
        </p:txBody>
      </p:sp>
      <p:sp>
        <p:nvSpPr>
          <p:cNvPr id="23" name="Plassholder for tekst 7">
            <a:extLst>
              <a:ext uri="{FF2B5EF4-FFF2-40B4-BE49-F238E27FC236}">
                <a16:creationId xmlns:a16="http://schemas.microsoft.com/office/drawing/2014/main" id="{71CD2EA3-81D4-E9AE-701F-D42A5BFB2E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031502" y="3625531"/>
            <a:ext cx="923561" cy="361443"/>
          </a:xfrm>
        </p:spPr>
        <p:txBody>
          <a:bodyPr lIns="0" rIns="0">
            <a:noAutofit/>
          </a:bodyPr>
          <a:lstStyle>
            <a:lvl1pPr marL="0" indent="0" algn="ctr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nb-NO" dirty="0" err="1"/>
              <a:t>Number</a:t>
            </a:r>
            <a:endParaRPr lang="nb-NO" dirty="0"/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A3B2B286-9EC8-BFBA-316D-749DC058EA9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02038" y="5007802"/>
            <a:ext cx="2700000" cy="360920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D9C335E1-2931-3B80-E0D1-BF551611753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09033" y="5391844"/>
            <a:ext cx="2700000" cy="1024831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F3BD02E0-55AC-95FE-81C3-EC14E6A898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8083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2">
            <a:extLst>
              <a:ext uri="{FF2B5EF4-FFF2-40B4-BE49-F238E27FC236}">
                <a16:creationId xmlns:a16="http://schemas.microsoft.com/office/drawing/2014/main" id="{C2605546-09AC-1519-6EE4-C3D04F0F1A2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5" y="2316020"/>
            <a:ext cx="11227779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3FC7BABA-285A-D7C8-5827-1C9C668330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20" name="Plassholder for innhold 2">
            <a:extLst>
              <a:ext uri="{FF2B5EF4-FFF2-40B4-BE49-F238E27FC236}">
                <a16:creationId xmlns:a16="http://schemas.microsoft.com/office/drawing/2014/main" id="{892F51D6-CCC7-9F81-AF37-B81FA94374B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2" y="2935588"/>
            <a:ext cx="11227779" cy="3492372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88BF60C6-9D79-EBD1-2882-CB11CD1FF3A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3CA220DD-A7DA-6B45-260A-C9A0AC54384A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6179F16C-F819-05E8-BA5E-2DEE235345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5568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,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052289A0-1316-2D33-C198-544E44959451}"/>
              </a:ext>
            </a:extLst>
          </p:cNvPr>
          <p:cNvSpPr/>
          <p:nvPr userDrawn="1"/>
        </p:nvSpPr>
        <p:spPr>
          <a:xfrm>
            <a:off x="479426" y="482599"/>
            <a:ext cx="11233150" cy="5934075"/>
          </a:xfrm>
          <a:prstGeom prst="rect">
            <a:avLst/>
          </a:prstGeom>
          <a:solidFill>
            <a:schemeClr val="accent5">
              <a:alpha val="25098"/>
            </a:schemeClr>
          </a:solidFill>
          <a:ln>
            <a:solidFill>
              <a:srgbClr val="6495CC">
                <a:alpha val="25098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8401" y="1295496"/>
            <a:ext cx="10274299" cy="658034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 dirty="0"/>
              <a:t>Click and insert heading </a:t>
            </a:r>
          </a:p>
        </p:txBody>
      </p:sp>
      <p:sp>
        <p:nvSpPr>
          <p:cNvPr id="22" name="Plassholder for innhold 2">
            <a:extLst>
              <a:ext uri="{FF2B5EF4-FFF2-40B4-BE49-F238E27FC236}">
                <a16:creationId xmlns:a16="http://schemas.microsoft.com/office/drawing/2014/main" id="{F348C4F9-46CB-99D0-2AA0-997FE4121B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620000" y="2312987"/>
            <a:ext cx="3797300" cy="3626085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– 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</p:txBody>
      </p:sp>
      <p:sp>
        <p:nvSpPr>
          <p:cNvPr id="24" name="Plassholder for diagram 23">
            <a:extLst>
              <a:ext uri="{FF2B5EF4-FFF2-40B4-BE49-F238E27FC236}">
                <a16:creationId xmlns:a16="http://schemas.microsoft.com/office/drawing/2014/main" id="{B7651868-B214-F9C5-7C28-96B1F06DE334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164255" y="2592684"/>
            <a:ext cx="6223000" cy="3289299"/>
          </a:xfrm>
        </p:spPr>
        <p:txBody>
          <a:bodyPr lIns="0"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diagram</a:t>
            </a:r>
            <a:endParaRPr lang="nb-NO" dirty="0"/>
          </a:p>
        </p:txBody>
      </p:sp>
      <p:sp>
        <p:nvSpPr>
          <p:cNvPr id="28" name="Plassholder for tekst 2">
            <a:extLst>
              <a:ext uri="{FF2B5EF4-FFF2-40B4-BE49-F238E27FC236}">
                <a16:creationId xmlns:a16="http://schemas.microsoft.com/office/drawing/2014/main" id="{2C26F230-32F6-6684-6B70-48F6B0987BF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170579" y="1997165"/>
            <a:ext cx="6198790" cy="309312"/>
          </a:xfrm>
        </p:spPr>
        <p:txBody>
          <a:bodyPr lIns="0" anchor="b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sub heading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992E7303-C4BB-F6AC-2409-4F36283EAA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3668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,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12">
            <a:extLst>
              <a:ext uri="{FF2B5EF4-FFF2-40B4-BE49-F238E27FC236}">
                <a16:creationId xmlns:a16="http://schemas.microsoft.com/office/drawing/2014/main" id="{052289A0-1316-2D33-C198-544E44959451}"/>
              </a:ext>
            </a:extLst>
          </p:cNvPr>
          <p:cNvSpPr/>
          <p:nvPr userDrawn="1"/>
        </p:nvSpPr>
        <p:spPr>
          <a:xfrm>
            <a:off x="479426" y="482599"/>
            <a:ext cx="11233150" cy="5934075"/>
          </a:xfrm>
          <a:prstGeom prst="rect">
            <a:avLst/>
          </a:prstGeom>
          <a:solidFill>
            <a:schemeClr val="accent5">
              <a:alpha val="25098"/>
            </a:schemeClr>
          </a:solidFill>
          <a:ln>
            <a:solidFill>
              <a:srgbClr val="6495CC">
                <a:alpha val="25098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8401" y="1295496"/>
            <a:ext cx="10274299" cy="658034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 dirty="0"/>
              <a:t>Click and insert heading </a:t>
            </a:r>
          </a:p>
        </p:txBody>
      </p:sp>
      <p:sp>
        <p:nvSpPr>
          <p:cNvPr id="24" name="Plassholder for diagram 23">
            <a:extLst>
              <a:ext uri="{FF2B5EF4-FFF2-40B4-BE49-F238E27FC236}">
                <a16:creationId xmlns:a16="http://schemas.microsoft.com/office/drawing/2014/main" id="{B7651868-B214-F9C5-7C28-96B1F06DE334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164254" y="2592684"/>
            <a:ext cx="10234059" cy="3289299"/>
          </a:xfrm>
        </p:spPr>
        <p:txBody>
          <a:bodyPr lIns="0"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diagram</a:t>
            </a:r>
            <a:endParaRPr lang="nb-NO" dirty="0"/>
          </a:p>
        </p:txBody>
      </p:sp>
      <p:sp>
        <p:nvSpPr>
          <p:cNvPr id="28" name="Plassholder for tekst 2">
            <a:extLst>
              <a:ext uri="{FF2B5EF4-FFF2-40B4-BE49-F238E27FC236}">
                <a16:creationId xmlns:a16="http://schemas.microsoft.com/office/drawing/2014/main" id="{2C26F230-32F6-6684-6B70-48F6B0987BFD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1170579" y="1997165"/>
            <a:ext cx="10263948" cy="309312"/>
          </a:xfrm>
        </p:spPr>
        <p:txBody>
          <a:bodyPr lIns="0" anchor="b">
            <a:normAutofit/>
          </a:bodyPr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sub heading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AE8E49B6-3CCE-E5DB-220C-BABDE54539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4144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con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5800" y="1058545"/>
            <a:ext cx="7216775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34" name="Avrundet rektangel 33">
            <a:extLst>
              <a:ext uri="{FF2B5EF4-FFF2-40B4-BE49-F238E27FC236}">
                <a16:creationId xmlns:a16="http://schemas.microsoft.com/office/drawing/2014/main" id="{F46255D6-96EB-16D3-A9DA-72196E1192B2}"/>
              </a:ext>
            </a:extLst>
          </p:cNvPr>
          <p:cNvSpPr/>
          <p:nvPr userDrawn="1"/>
        </p:nvSpPr>
        <p:spPr>
          <a:xfrm>
            <a:off x="1143724" y="1193687"/>
            <a:ext cx="2580361" cy="2057513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5" name="Plassholder for bilde 11">
            <a:extLst>
              <a:ext uri="{FF2B5EF4-FFF2-40B4-BE49-F238E27FC236}">
                <a16:creationId xmlns:a16="http://schemas.microsoft.com/office/drawing/2014/main" id="{AE5A22AE-502C-9672-E982-8278921C3FE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813413" y="1521579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36" name="Plassholder for tekst 13">
            <a:extLst>
              <a:ext uri="{FF2B5EF4-FFF2-40B4-BE49-F238E27FC236}">
                <a16:creationId xmlns:a16="http://schemas.microsoft.com/office/drawing/2014/main" id="{D4B12130-7B16-CAD3-EFB8-3DC47C46A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6025" y="2793505"/>
            <a:ext cx="2329502" cy="406895"/>
          </a:xfrm>
        </p:spPr>
        <p:txBody>
          <a:bodyPr lIns="36000" anchor="b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number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6BB8E25F-DF05-1244-7A51-01CFFD7BAB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70400" y="2312988"/>
            <a:ext cx="7242174" cy="989012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 </a:t>
            </a:r>
          </a:p>
        </p:txBody>
      </p:sp>
      <p:sp>
        <p:nvSpPr>
          <p:cNvPr id="5" name="Avrundet rektangel 4">
            <a:extLst>
              <a:ext uri="{FF2B5EF4-FFF2-40B4-BE49-F238E27FC236}">
                <a16:creationId xmlns:a16="http://schemas.microsoft.com/office/drawing/2014/main" id="{74F3F9D0-D726-03EE-B098-AD959C24FBC6}"/>
              </a:ext>
            </a:extLst>
          </p:cNvPr>
          <p:cNvSpPr/>
          <p:nvPr userDrawn="1"/>
        </p:nvSpPr>
        <p:spPr>
          <a:xfrm>
            <a:off x="1118324" y="3555887"/>
            <a:ext cx="2580361" cy="2057513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Plassholder for bilde 11">
            <a:extLst>
              <a:ext uri="{FF2B5EF4-FFF2-40B4-BE49-F238E27FC236}">
                <a16:creationId xmlns:a16="http://schemas.microsoft.com/office/drawing/2014/main" id="{AAC03FFF-41F9-E682-E30D-46B6D3FF79A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788013" y="3883779"/>
            <a:ext cx="1260000" cy="12600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7" name="Plassholder for tekst 13">
            <a:extLst>
              <a:ext uri="{FF2B5EF4-FFF2-40B4-BE49-F238E27FC236}">
                <a16:creationId xmlns:a16="http://schemas.microsoft.com/office/drawing/2014/main" id="{4E966B8C-D440-DF97-02C7-87FD411CB9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60625" y="5155705"/>
            <a:ext cx="2329502" cy="406895"/>
          </a:xfrm>
        </p:spPr>
        <p:txBody>
          <a:bodyPr lIns="36000" anchor="b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number</a:t>
            </a:r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0BE56141-FF96-1919-5478-11135B7DCD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46687" y="3806552"/>
            <a:ext cx="2628000" cy="360920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0" name="Plassholder for tekst 15">
            <a:extLst>
              <a:ext uri="{FF2B5EF4-FFF2-40B4-BE49-F238E27FC236}">
                <a16:creationId xmlns:a16="http://schemas.microsoft.com/office/drawing/2014/main" id="{B7C5EDDB-C8CE-D277-CBCB-B2EEA39100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44629" y="4199648"/>
            <a:ext cx="2628000" cy="1362952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11" name="Plassholder for tekst 13">
            <a:extLst>
              <a:ext uri="{FF2B5EF4-FFF2-40B4-BE49-F238E27FC236}">
                <a16:creationId xmlns:a16="http://schemas.microsoft.com/office/drawing/2014/main" id="{7AD2485B-DC1E-A825-2516-D7CBF4CB7CB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47087" y="3806552"/>
            <a:ext cx="2628000" cy="360920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2" name="Plassholder for tekst 15">
            <a:extLst>
              <a:ext uri="{FF2B5EF4-FFF2-40B4-BE49-F238E27FC236}">
                <a16:creationId xmlns:a16="http://schemas.microsoft.com/office/drawing/2014/main" id="{5013033D-2D6B-03E8-0E01-5FCBE008B1A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45029" y="4199648"/>
            <a:ext cx="2628000" cy="1362952"/>
          </a:xfrm>
        </p:spPr>
        <p:txBody>
          <a:bodyPr lIns="36000">
            <a:normAutofit/>
          </a:bodyPr>
          <a:lstStyle>
            <a:lvl1pPr marL="185738" indent="-185738">
              <a:tabLst/>
              <a:defRPr sz="14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41A79B7-D708-A272-FE08-33F5010539DB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E471B7B-87D4-F718-D4C8-6389CEECECAC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16705FC5-533C-8D50-47BD-F39CDA7E7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7941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arrow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ktangel 32">
            <a:extLst>
              <a:ext uri="{FF2B5EF4-FFF2-40B4-BE49-F238E27FC236}">
                <a16:creationId xmlns:a16="http://schemas.microsoft.com/office/drawing/2014/main" id="{163C4B06-AE0F-C6EE-0582-A354BCB4122D}"/>
              </a:ext>
            </a:extLst>
          </p:cNvPr>
          <p:cNvSpPr/>
          <p:nvPr userDrawn="1"/>
        </p:nvSpPr>
        <p:spPr>
          <a:xfrm>
            <a:off x="479426" y="482599"/>
            <a:ext cx="11233150" cy="5934075"/>
          </a:xfrm>
          <a:prstGeom prst="rect">
            <a:avLst/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5" name="Avrundet rektangel 14">
            <a:extLst>
              <a:ext uri="{FF2B5EF4-FFF2-40B4-BE49-F238E27FC236}">
                <a16:creationId xmlns:a16="http://schemas.microsoft.com/office/drawing/2014/main" id="{449436DF-3DAB-9D01-5102-1D16FD1EC27B}"/>
              </a:ext>
            </a:extLst>
          </p:cNvPr>
          <p:cNvSpPr/>
          <p:nvPr userDrawn="1"/>
        </p:nvSpPr>
        <p:spPr>
          <a:xfrm>
            <a:off x="1622425" y="2559600"/>
            <a:ext cx="8943975" cy="2444200"/>
          </a:xfrm>
          <a:prstGeom prst="roundRect">
            <a:avLst>
              <a:gd name="adj" fmla="val 10756"/>
            </a:avLst>
          </a:prstGeom>
          <a:solidFill>
            <a:schemeClr val="bg1"/>
          </a:solidFill>
          <a:ln>
            <a:solidFill>
              <a:schemeClr val="bg1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B90825EE-8DD1-7693-BFF5-AB1AF803B5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30785" y="3113215"/>
            <a:ext cx="1820518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BD6700FA-FA88-C08F-E9E8-91F2C4E9A6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28727" y="3484539"/>
            <a:ext cx="1820518" cy="1362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3" name="Plassholder for tekst 13">
            <a:extLst>
              <a:ext uri="{FF2B5EF4-FFF2-40B4-BE49-F238E27FC236}">
                <a16:creationId xmlns:a16="http://schemas.microsoft.com/office/drawing/2014/main" id="{DA5F2B19-CEF5-C31E-08DE-250A3BDFEBD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110954" y="3113215"/>
            <a:ext cx="1820518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A13CBD61-80B7-C45D-1DE8-0741B2CFCB0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08896" y="3484539"/>
            <a:ext cx="1820518" cy="1362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6" name="Plassholder for tekst 13">
            <a:extLst>
              <a:ext uri="{FF2B5EF4-FFF2-40B4-BE49-F238E27FC236}">
                <a16:creationId xmlns:a16="http://schemas.microsoft.com/office/drawing/2014/main" id="{2295FB73-86D5-9391-BDC7-B65B9FAD699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20441" y="3121235"/>
            <a:ext cx="1820518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7" name="Plassholder for tekst 15">
            <a:extLst>
              <a:ext uri="{FF2B5EF4-FFF2-40B4-BE49-F238E27FC236}">
                <a16:creationId xmlns:a16="http://schemas.microsoft.com/office/drawing/2014/main" id="{CD7C5CDF-D7A6-2DA9-E07F-35461796524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18383" y="3492559"/>
            <a:ext cx="1820518" cy="1362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1" name="Plassholder for tekst 13">
            <a:extLst>
              <a:ext uri="{FF2B5EF4-FFF2-40B4-BE49-F238E27FC236}">
                <a16:creationId xmlns:a16="http://schemas.microsoft.com/office/drawing/2014/main" id="{53CF8401-C0D4-48FC-88AB-0D0922DA695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690985" y="3121235"/>
            <a:ext cx="1820518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2" name="Plassholder for tekst 15">
            <a:extLst>
              <a:ext uri="{FF2B5EF4-FFF2-40B4-BE49-F238E27FC236}">
                <a16:creationId xmlns:a16="http://schemas.microsoft.com/office/drawing/2014/main" id="{4AA36C8E-FCE8-2617-B9EE-7936CF4CDC1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688927" y="3492559"/>
            <a:ext cx="1820518" cy="1362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5" name="Bilde 4" descr="Et bilde som inneholder sirkel, Grafikk, kreativitet&#10;&#10;Automatisk generert beskrivelse">
            <a:extLst>
              <a:ext uri="{FF2B5EF4-FFF2-40B4-BE49-F238E27FC236}">
                <a16:creationId xmlns:a16="http://schemas.microsoft.com/office/drawing/2014/main" id="{B852813C-6F21-1D79-C2C7-917B22C7E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0304" y="1721787"/>
            <a:ext cx="1080000" cy="1080000"/>
          </a:xfrm>
          <a:prstGeom prst="rect">
            <a:avLst/>
          </a:prstGeom>
        </p:spPr>
      </p:pic>
      <p:pic>
        <p:nvPicPr>
          <p:cNvPr id="7" name="Bilde 6" descr="Et bilde som inneholder Grafikk, sirkel, grafisk design, design&#10;&#10;Automatisk generert beskrivelse">
            <a:extLst>
              <a:ext uri="{FF2B5EF4-FFF2-40B4-BE49-F238E27FC236}">
                <a16:creationId xmlns:a16="http://schemas.microsoft.com/office/drawing/2014/main" id="{12311781-5ACB-1A5D-68C0-EA012DE777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3071" y="1722093"/>
            <a:ext cx="1080000" cy="1080000"/>
          </a:xfrm>
          <a:prstGeom prst="rect">
            <a:avLst/>
          </a:prstGeom>
        </p:spPr>
      </p:pic>
      <p:pic>
        <p:nvPicPr>
          <p:cNvPr id="9" name="Bilde 8" descr="Et bilde som inneholder Grafikk, sirkel, clip art, kreativitet&#10;&#10;Automatisk generert beskrivelse">
            <a:extLst>
              <a:ext uri="{FF2B5EF4-FFF2-40B4-BE49-F238E27FC236}">
                <a16:creationId xmlns:a16="http://schemas.microsoft.com/office/drawing/2014/main" id="{0AA15DDE-C9BE-2162-90A4-7BAFD769135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80203" y="1726981"/>
            <a:ext cx="1080000" cy="1080000"/>
          </a:xfrm>
          <a:prstGeom prst="rect">
            <a:avLst/>
          </a:prstGeom>
        </p:spPr>
      </p:pic>
      <p:pic>
        <p:nvPicPr>
          <p:cNvPr id="14" name="Bilde 13" descr="Et bilde som inneholder Grafikk, sirkel, clip art, kreativitet&#10;&#10;Automatisk generert beskrivelse">
            <a:extLst>
              <a:ext uri="{FF2B5EF4-FFF2-40B4-BE49-F238E27FC236}">
                <a16:creationId xmlns:a16="http://schemas.microsoft.com/office/drawing/2014/main" id="{21EE7655-5442-C991-57C8-A8347D42FAC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2127" y="1729994"/>
            <a:ext cx="1080000" cy="1080000"/>
          </a:xfrm>
          <a:prstGeom prst="rect">
            <a:avLst/>
          </a:prstGeom>
        </p:spPr>
      </p:pic>
      <p:sp>
        <p:nvSpPr>
          <p:cNvPr id="18" name="Plassholder for tekst 13">
            <a:extLst>
              <a:ext uri="{FF2B5EF4-FFF2-40B4-BE49-F238E27FC236}">
                <a16:creationId xmlns:a16="http://schemas.microsoft.com/office/drawing/2014/main" id="{5F3642C3-3B21-E56B-13F8-E8987F3DC0B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98374" y="1620487"/>
            <a:ext cx="1109666" cy="510042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19" name="Plassholder for tekst 13">
            <a:extLst>
              <a:ext uri="{FF2B5EF4-FFF2-40B4-BE49-F238E27FC236}">
                <a16:creationId xmlns:a16="http://schemas.microsoft.com/office/drawing/2014/main" id="{0B1D3DDF-B981-7E46-E561-55BEFA89FE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07377" y="1617988"/>
            <a:ext cx="1109666" cy="510042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20" name="Plassholder for tekst 13">
            <a:extLst>
              <a:ext uri="{FF2B5EF4-FFF2-40B4-BE49-F238E27FC236}">
                <a16:creationId xmlns:a16="http://schemas.microsoft.com/office/drawing/2014/main" id="{F1F3C008-52E9-0B66-6593-229B8B2B0C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903889" y="1622986"/>
            <a:ext cx="1109666" cy="510042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21" name="Plassholder for tekst 13">
            <a:extLst>
              <a:ext uri="{FF2B5EF4-FFF2-40B4-BE49-F238E27FC236}">
                <a16:creationId xmlns:a16="http://schemas.microsoft.com/office/drawing/2014/main" id="{6771C715-72A7-2F6A-C030-0FE2625203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12892" y="1620487"/>
            <a:ext cx="1109666" cy="510042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ext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1FBA3513-E327-E67C-4DD3-236931AEF67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3922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arrow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ktangel 32">
            <a:extLst>
              <a:ext uri="{FF2B5EF4-FFF2-40B4-BE49-F238E27FC236}">
                <a16:creationId xmlns:a16="http://schemas.microsoft.com/office/drawing/2014/main" id="{163C4B06-AE0F-C6EE-0582-A354BCB4122D}"/>
              </a:ext>
            </a:extLst>
          </p:cNvPr>
          <p:cNvSpPr/>
          <p:nvPr userDrawn="1"/>
        </p:nvSpPr>
        <p:spPr>
          <a:xfrm>
            <a:off x="479426" y="482599"/>
            <a:ext cx="11233150" cy="5934075"/>
          </a:xfrm>
          <a:prstGeom prst="rect">
            <a:avLst/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5" name="Avrundet rektangel 14">
            <a:extLst>
              <a:ext uri="{FF2B5EF4-FFF2-40B4-BE49-F238E27FC236}">
                <a16:creationId xmlns:a16="http://schemas.microsoft.com/office/drawing/2014/main" id="{449436DF-3DAB-9D01-5102-1D16FD1EC27B}"/>
              </a:ext>
            </a:extLst>
          </p:cNvPr>
          <p:cNvSpPr/>
          <p:nvPr userDrawn="1"/>
        </p:nvSpPr>
        <p:spPr>
          <a:xfrm>
            <a:off x="1622425" y="1952626"/>
            <a:ext cx="8943975" cy="4053320"/>
          </a:xfrm>
          <a:prstGeom prst="roundRect">
            <a:avLst>
              <a:gd name="adj" fmla="val 10756"/>
            </a:avLst>
          </a:prstGeom>
          <a:solidFill>
            <a:schemeClr val="bg1"/>
          </a:solidFill>
          <a:ln>
            <a:solidFill>
              <a:schemeClr val="bg1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B90825EE-8DD1-7693-BFF5-AB1AF803B5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033016" y="2312989"/>
            <a:ext cx="2329285" cy="611186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BD6700FA-FA88-C08F-E9E8-91F2C4E9A6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30958" y="3058508"/>
            <a:ext cx="2329285" cy="2729228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3" name="Plassholder for tekst 13">
            <a:extLst>
              <a:ext uri="{FF2B5EF4-FFF2-40B4-BE49-F238E27FC236}">
                <a16:creationId xmlns:a16="http://schemas.microsoft.com/office/drawing/2014/main" id="{DA5F2B19-CEF5-C31E-08DE-250A3BDFEBD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044705" y="2312989"/>
            <a:ext cx="2329285" cy="611186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A13CBD61-80B7-C45D-1DE8-0741B2CFCB0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42647" y="3058508"/>
            <a:ext cx="2329285" cy="2729228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6" name="Plassholder for tekst 13">
            <a:extLst>
              <a:ext uri="{FF2B5EF4-FFF2-40B4-BE49-F238E27FC236}">
                <a16:creationId xmlns:a16="http://schemas.microsoft.com/office/drawing/2014/main" id="{2295FB73-86D5-9391-BDC7-B65B9FAD699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999082" y="2321009"/>
            <a:ext cx="2329285" cy="611186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7" name="Plassholder for tekst 15">
            <a:extLst>
              <a:ext uri="{FF2B5EF4-FFF2-40B4-BE49-F238E27FC236}">
                <a16:creationId xmlns:a16="http://schemas.microsoft.com/office/drawing/2014/main" id="{CD7C5CDF-D7A6-2DA9-E07F-35461796524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997024" y="3066528"/>
            <a:ext cx="2329285" cy="2729228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5" name="Bilde 4" descr="Et bilde som inneholder sirkel, Grafikk, kreativitet&#10;&#10;Automatisk generert beskrivelse">
            <a:extLst>
              <a:ext uri="{FF2B5EF4-FFF2-40B4-BE49-F238E27FC236}">
                <a16:creationId xmlns:a16="http://schemas.microsoft.com/office/drawing/2014/main" id="{B852813C-6F21-1D79-C2C7-917B22C7EC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3833" y="1119572"/>
            <a:ext cx="1080000" cy="1080000"/>
          </a:xfrm>
          <a:prstGeom prst="rect">
            <a:avLst/>
          </a:prstGeom>
        </p:spPr>
      </p:pic>
      <p:pic>
        <p:nvPicPr>
          <p:cNvPr id="7" name="Bilde 6" descr="Et bilde som inneholder Grafikk, sirkel, grafisk design, design&#10;&#10;Automatisk generert beskrivelse">
            <a:extLst>
              <a:ext uri="{FF2B5EF4-FFF2-40B4-BE49-F238E27FC236}">
                <a16:creationId xmlns:a16="http://schemas.microsoft.com/office/drawing/2014/main" id="{12311781-5ACB-1A5D-68C0-EA012DE777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9996" y="1119878"/>
            <a:ext cx="1080000" cy="1080000"/>
          </a:xfrm>
          <a:prstGeom prst="rect">
            <a:avLst/>
          </a:prstGeom>
        </p:spPr>
      </p:pic>
      <p:pic>
        <p:nvPicPr>
          <p:cNvPr id="14" name="Bilde 13" descr="Et bilde som inneholder Grafikk, sirkel, clip art, kreativitet&#10;&#10;Automatisk generert beskrivelse">
            <a:extLst>
              <a:ext uri="{FF2B5EF4-FFF2-40B4-BE49-F238E27FC236}">
                <a16:creationId xmlns:a16="http://schemas.microsoft.com/office/drawing/2014/main" id="{21EE7655-5442-C991-57C8-A8347D42FAC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82266" y="1127779"/>
            <a:ext cx="1080000" cy="1080000"/>
          </a:xfrm>
          <a:prstGeom prst="rect">
            <a:avLst/>
          </a:prstGeom>
        </p:spPr>
      </p:pic>
      <p:sp>
        <p:nvSpPr>
          <p:cNvPr id="19" name="Plassholder for tekst 13">
            <a:extLst>
              <a:ext uri="{FF2B5EF4-FFF2-40B4-BE49-F238E27FC236}">
                <a16:creationId xmlns:a16="http://schemas.microsoft.com/office/drawing/2014/main" id="{0B1D3DDF-B981-7E46-E561-55BEFA89FE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84302" y="1015773"/>
            <a:ext cx="1621194" cy="510042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20" name="Plassholder for tekst 13">
            <a:extLst>
              <a:ext uri="{FF2B5EF4-FFF2-40B4-BE49-F238E27FC236}">
                <a16:creationId xmlns:a16="http://schemas.microsoft.com/office/drawing/2014/main" id="{F1F3C008-52E9-0B66-6593-229B8B2B0C0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097418" y="1020771"/>
            <a:ext cx="1621194" cy="510042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ext</a:t>
            </a:r>
          </a:p>
        </p:txBody>
      </p:sp>
      <p:sp>
        <p:nvSpPr>
          <p:cNvPr id="21" name="Plassholder for tekst 13">
            <a:extLst>
              <a:ext uri="{FF2B5EF4-FFF2-40B4-BE49-F238E27FC236}">
                <a16:creationId xmlns:a16="http://schemas.microsoft.com/office/drawing/2014/main" id="{6771C715-72A7-2F6A-C030-0FE2625203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123031" y="1018272"/>
            <a:ext cx="1621194" cy="510042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Text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34AC808E-1E78-9D56-554C-7022D6C4A5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5431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ktangel 32">
            <a:extLst>
              <a:ext uri="{FF2B5EF4-FFF2-40B4-BE49-F238E27FC236}">
                <a16:creationId xmlns:a16="http://schemas.microsoft.com/office/drawing/2014/main" id="{163C4B06-AE0F-C6EE-0582-A354BCB4122D}"/>
              </a:ext>
            </a:extLst>
          </p:cNvPr>
          <p:cNvSpPr/>
          <p:nvPr userDrawn="1"/>
        </p:nvSpPr>
        <p:spPr>
          <a:xfrm>
            <a:off x="479426" y="482599"/>
            <a:ext cx="11233150" cy="5934075"/>
          </a:xfrm>
          <a:prstGeom prst="rect">
            <a:avLst/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5" name="Avrundet rektangel 14">
            <a:extLst>
              <a:ext uri="{FF2B5EF4-FFF2-40B4-BE49-F238E27FC236}">
                <a16:creationId xmlns:a16="http://schemas.microsoft.com/office/drawing/2014/main" id="{449436DF-3DAB-9D01-5102-1D16FD1EC27B}"/>
              </a:ext>
            </a:extLst>
          </p:cNvPr>
          <p:cNvSpPr/>
          <p:nvPr userDrawn="1"/>
        </p:nvSpPr>
        <p:spPr>
          <a:xfrm>
            <a:off x="1622425" y="1952625"/>
            <a:ext cx="8943975" cy="4015038"/>
          </a:xfrm>
          <a:prstGeom prst="roundRect">
            <a:avLst>
              <a:gd name="adj" fmla="val 10756"/>
            </a:avLst>
          </a:prstGeom>
          <a:solidFill>
            <a:schemeClr val="bg1"/>
          </a:solidFill>
          <a:ln>
            <a:solidFill>
              <a:schemeClr val="bg1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B90825EE-8DD1-7693-BFF5-AB1AF803B5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30784" y="3517476"/>
            <a:ext cx="2531517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BD6700FA-FA88-C08F-E9E8-91F2C4E9A6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28726" y="3888800"/>
            <a:ext cx="2531517" cy="1751604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3" name="Plassholder for tekst 13">
            <a:extLst>
              <a:ext uri="{FF2B5EF4-FFF2-40B4-BE49-F238E27FC236}">
                <a16:creationId xmlns:a16="http://schemas.microsoft.com/office/drawing/2014/main" id="{DA5F2B19-CEF5-C31E-08DE-250A3BDFEBD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842473" y="3517476"/>
            <a:ext cx="2531517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A13CBD61-80B7-C45D-1DE8-0741B2CFCB0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840415" y="3888800"/>
            <a:ext cx="2531517" cy="1751604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6" name="Plassholder for tekst 13">
            <a:extLst>
              <a:ext uri="{FF2B5EF4-FFF2-40B4-BE49-F238E27FC236}">
                <a16:creationId xmlns:a16="http://schemas.microsoft.com/office/drawing/2014/main" id="{2295FB73-86D5-9391-BDC7-B65B9FAD699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96850" y="3525496"/>
            <a:ext cx="2531517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7" name="Plassholder for tekst 15">
            <a:extLst>
              <a:ext uri="{FF2B5EF4-FFF2-40B4-BE49-F238E27FC236}">
                <a16:creationId xmlns:a16="http://schemas.microsoft.com/office/drawing/2014/main" id="{CD7C5CDF-D7A6-2DA9-E07F-35461796524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794792" y="3896820"/>
            <a:ext cx="2531517" cy="1751604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81278DD-196F-F7EE-9671-79CB60E9E94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473843" y="2312988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6" name="Plassholder for bilde 2">
            <a:extLst>
              <a:ext uri="{FF2B5EF4-FFF2-40B4-BE49-F238E27FC236}">
                <a16:creationId xmlns:a16="http://schemas.microsoft.com/office/drawing/2014/main" id="{EF25F938-1657-777C-720D-BB7FCD77A5F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5556000" y="2312988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CC1F8FEF-7911-93C4-FE3E-637B993A6FD1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8516904" y="2312988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D1674266-E16C-E53C-E23B-ECBA5EF31A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3565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optional phto and text boxes arrows -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27" y="1101436"/>
            <a:ext cx="2736567" cy="86181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6BB8E25F-DF05-1244-7A51-01CFFD7BAB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3616" y="2091349"/>
            <a:ext cx="2727175" cy="4325325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 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41A79B7-D708-A272-FE08-33F5010539DB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E471B7B-87D4-F718-D4C8-6389CEECECAC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31" name="Plassholder for bilde 30">
            <a:extLst>
              <a:ext uri="{FF2B5EF4-FFF2-40B4-BE49-F238E27FC236}">
                <a16:creationId xmlns:a16="http://schemas.microsoft.com/office/drawing/2014/main" id="{8B942DFC-60EF-D749-6C17-101325D45214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40043" y="1438104"/>
            <a:ext cx="8375306" cy="3466406"/>
          </a:xfrm>
          <a:custGeom>
            <a:avLst/>
            <a:gdLst>
              <a:gd name="connsiteX0" fmla="*/ 460547 w 8375306"/>
              <a:gd name="connsiteY0" fmla="*/ 0 h 3466406"/>
              <a:gd name="connsiteX1" fmla="*/ 7914759 w 8375306"/>
              <a:gd name="connsiteY1" fmla="*/ 0 h 3466406"/>
              <a:gd name="connsiteX2" fmla="*/ 8375306 w 8375306"/>
              <a:gd name="connsiteY2" fmla="*/ 460547 h 3466406"/>
              <a:gd name="connsiteX3" fmla="*/ 8375306 w 8375306"/>
              <a:gd name="connsiteY3" fmla="*/ 3005859 h 3466406"/>
              <a:gd name="connsiteX4" fmla="*/ 8172255 w 8375306"/>
              <a:gd name="connsiteY4" fmla="*/ 3387752 h 3466406"/>
              <a:gd name="connsiteX5" fmla="*/ 8146832 w 8375306"/>
              <a:gd name="connsiteY5" fmla="*/ 3401551 h 3466406"/>
              <a:gd name="connsiteX6" fmla="*/ 8146832 w 8375306"/>
              <a:gd name="connsiteY6" fmla="*/ 2750742 h 3466406"/>
              <a:gd name="connsiteX7" fmla="*/ 7927729 w 8375306"/>
              <a:gd name="connsiteY7" fmla="*/ 2531639 h 3466406"/>
              <a:gd name="connsiteX8" fmla="*/ 6060491 w 8375306"/>
              <a:gd name="connsiteY8" fmla="*/ 2531639 h 3466406"/>
              <a:gd name="connsiteX9" fmla="*/ 5841388 w 8375306"/>
              <a:gd name="connsiteY9" fmla="*/ 2750742 h 3466406"/>
              <a:gd name="connsiteX10" fmla="*/ 5841388 w 8375306"/>
              <a:gd name="connsiteY10" fmla="*/ 3466406 h 3466406"/>
              <a:gd name="connsiteX11" fmla="*/ 5741708 w 8375306"/>
              <a:gd name="connsiteY11" fmla="*/ 3466406 h 3466406"/>
              <a:gd name="connsiteX12" fmla="*/ 5508716 w 8375306"/>
              <a:gd name="connsiteY12" fmla="*/ 3220608 h 3466406"/>
              <a:gd name="connsiteX13" fmla="*/ 5508716 w 8375306"/>
              <a:gd name="connsiteY13" fmla="*/ 3466406 h 3466406"/>
              <a:gd name="connsiteX14" fmla="*/ 5364315 w 8375306"/>
              <a:gd name="connsiteY14" fmla="*/ 3466406 h 3466406"/>
              <a:gd name="connsiteX15" fmla="*/ 5364315 w 8375306"/>
              <a:gd name="connsiteY15" fmla="*/ 2764189 h 3466406"/>
              <a:gd name="connsiteX16" fmla="*/ 5145212 w 8375306"/>
              <a:gd name="connsiteY16" fmla="*/ 2545086 h 3466406"/>
              <a:gd name="connsiteX17" fmla="*/ 3277974 w 8375306"/>
              <a:gd name="connsiteY17" fmla="*/ 2545086 h 3466406"/>
              <a:gd name="connsiteX18" fmla="*/ 3058871 w 8375306"/>
              <a:gd name="connsiteY18" fmla="*/ 2764189 h 3466406"/>
              <a:gd name="connsiteX19" fmla="*/ 3058871 w 8375306"/>
              <a:gd name="connsiteY19" fmla="*/ 3466406 h 3466406"/>
              <a:gd name="connsiteX20" fmla="*/ 2941070 w 8375306"/>
              <a:gd name="connsiteY20" fmla="*/ 3466406 h 3466406"/>
              <a:gd name="connsiteX21" fmla="*/ 2708078 w 8375306"/>
              <a:gd name="connsiteY21" fmla="*/ 3220608 h 3466406"/>
              <a:gd name="connsiteX22" fmla="*/ 2708078 w 8375306"/>
              <a:gd name="connsiteY22" fmla="*/ 3466406 h 3466406"/>
              <a:gd name="connsiteX23" fmla="*/ 2576291 w 8375306"/>
              <a:gd name="connsiteY23" fmla="*/ 3466406 h 3466406"/>
              <a:gd name="connsiteX24" fmla="*/ 2576291 w 8375306"/>
              <a:gd name="connsiteY24" fmla="*/ 2773154 h 3466406"/>
              <a:gd name="connsiteX25" fmla="*/ 2357188 w 8375306"/>
              <a:gd name="connsiteY25" fmla="*/ 2554051 h 3466406"/>
              <a:gd name="connsiteX26" fmla="*/ 489951 w 8375306"/>
              <a:gd name="connsiteY26" fmla="*/ 2554051 h 3466406"/>
              <a:gd name="connsiteX27" fmla="*/ 270848 w 8375306"/>
              <a:gd name="connsiteY27" fmla="*/ 2773154 h 3466406"/>
              <a:gd name="connsiteX28" fmla="*/ 270848 w 8375306"/>
              <a:gd name="connsiteY28" fmla="*/ 3424551 h 3466406"/>
              <a:gd name="connsiteX29" fmla="*/ 203051 w 8375306"/>
              <a:gd name="connsiteY29" fmla="*/ 3387752 h 3466406"/>
              <a:gd name="connsiteX30" fmla="*/ 0 w 8375306"/>
              <a:gd name="connsiteY30" fmla="*/ 3005859 h 3466406"/>
              <a:gd name="connsiteX31" fmla="*/ 0 w 8375306"/>
              <a:gd name="connsiteY31" fmla="*/ 460547 h 3466406"/>
              <a:gd name="connsiteX32" fmla="*/ 460547 w 8375306"/>
              <a:gd name="connsiteY32" fmla="*/ 0 h 3466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8375306" h="3466406">
                <a:moveTo>
                  <a:pt x="460547" y="0"/>
                </a:moveTo>
                <a:lnTo>
                  <a:pt x="7914759" y="0"/>
                </a:lnTo>
                <a:cubicBezTo>
                  <a:pt x="8169112" y="0"/>
                  <a:pt x="8375306" y="206194"/>
                  <a:pt x="8375306" y="460547"/>
                </a:cubicBezTo>
                <a:lnTo>
                  <a:pt x="8375306" y="3005859"/>
                </a:lnTo>
                <a:cubicBezTo>
                  <a:pt x="8375306" y="3164830"/>
                  <a:pt x="8294761" y="3304988"/>
                  <a:pt x="8172255" y="3387752"/>
                </a:cubicBezTo>
                <a:lnTo>
                  <a:pt x="8146832" y="3401551"/>
                </a:lnTo>
                <a:lnTo>
                  <a:pt x="8146832" y="2750742"/>
                </a:lnTo>
                <a:cubicBezTo>
                  <a:pt x="8146832" y="2629735"/>
                  <a:pt x="8048736" y="2531639"/>
                  <a:pt x="7927729" y="2531639"/>
                </a:cubicBezTo>
                <a:lnTo>
                  <a:pt x="6060491" y="2531639"/>
                </a:lnTo>
                <a:cubicBezTo>
                  <a:pt x="5939484" y="2531639"/>
                  <a:pt x="5841388" y="2629735"/>
                  <a:pt x="5841388" y="2750742"/>
                </a:cubicBezTo>
                <a:lnTo>
                  <a:pt x="5841388" y="3466406"/>
                </a:lnTo>
                <a:lnTo>
                  <a:pt x="5741708" y="3466406"/>
                </a:lnTo>
                <a:lnTo>
                  <a:pt x="5508716" y="3220608"/>
                </a:lnTo>
                <a:lnTo>
                  <a:pt x="5508716" y="3466406"/>
                </a:lnTo>
                <a:lnTo>
                  <a:pt x="5364315" y="3466406"/>
                </a:lnTo>
                <a:lnTo>
                  <a:pt x="5364315" y="2764189"/>
                </a:lnTo>
                <a:cubicBezTo>
                  <a:pt x="5364315" y="2643182"/>
                  <a:pt x="5266219" y="2545086"/>
                  <a:pt x="5145212" y="2545086"/>
                </a:cubicBezTo>
                <a:lnTo>
                  <a:pt x="3277974" y="2545086"/>
                </a:lnTo>
                <a:cubicBezTo>
                  <a:pt x="3156967" y="2545086"/>
                  <a:pt x="3058871" y="2643182"/>
                  <a:pt x="3058871" y="2764189"/>
                </a:cubicBezTo>
                <a:lnTo>
                  <a:pt x="3058871" y="3466406"/>
                </a:lnTo>
                <a:lnTo>
                  <a:pt x="2941070" y="3466406"/>
                </a:lnTo>
                <a:lnTo>
                  <a:pt x="2708078" y="3220608"/>
                </a:lnTo>
                <a:lnTo>
                  <a:pt x="2708078" y="3466406"/>
                </a:lnTo>
                <a:lnTo>
                  <a:pt x="2576291" y="3466406"/>
                </a:lnTo>
                <a:lnTo>
                  <a:pt x="2576291" y="2773154"/>
                </a:lnTo>
                <a:cubicBezTo>
                  <a:pt x="2576291" y="2652147"/>
                  <a:pt x="2478195" y="2554051"/>
                  <a:pt x="2357188" y="2554051"/>
                </a:cubicBezTo>
                <a:lnTo>
                  <a:pt x="489951" y="2554051"/>
                </a:lnTo>
                <a:cubicBezTo>
                  <a:pt x="368943" y="2554051"/>
                  <a:pt x="270848" y="2652147"/>
                  <a:pt x="270848" y="2773154"/>
                </a:cubicBezTo>
                <a:lnTo>
                  <a:pt x="270848" y="3424551"/>
                </a:lnTo>
                <a:lnTo>
                  <a:pt x="203051" y="3387752"/>
                </a:lnTo>
                <a:cubicBezTo>
                  <a:pt x="80546" y="3304988"/>
                  <a:pt x="0" y="3164830"/>
                  <a:pt x="0" y="3005859"/>
                </a:cubicBezTo>
                <a:lnTo>
                  <a:pt x="0" y="460547"/>
                </a:lnTo>
                <a:cubicBezTo>
                  <a:pt x="0" y="206194"/>
                  <a:pt x="206194" y="0"/>
                  <a:pt x="460547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Insert photo</a:t>
            </a:r>
          </a:p>
        </p:txBody>
      </p:sp>
      <p:sp>
        <p:nvSpPr>
          <p:cNvPr id="32" name="Avrundet rektangel 31">
            <a:extLst>
              <a:ext uri="{FF2B5EF4-FFF2-40B4-BE49-F238E27FC236}">
                <a16:creationId xmlns:a16="http://schemas.microsoft.com/office/drawing/2014/main" id="{A7202BEF-ECA6-A9B1-F85A-66B68BA0E86F}"/>
              </a:ext>
            </a:extLst>
          </p:cNvPr>
          <p:cNvSpPr/>
          <p:nvPr userDrawn="1"/>
        </p:nvSpPr>
        <p:spPr>
          <a:xfrm>
            <a:off x="3610890" y="3992155"/>
            <a:ext cx="2305444" cy="2037030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3" name="Avrundet rektangel 32">
            <a:extLst>
              <a:ext uri="{FF2B5EF4-FFF2-40B4-BE49-F238E27FC236}">
                <a16:creationId xmlns:a16="http://schemas.microsoft.com/office/drawing/2014/main" id="{BAF4BDD9-D082-F46D-176E-FB92654892C0}"/>
              </a:ext>
            </a:extLst>
          </p:cNvPr>
          <p:cNvSpPr/>
          <p:nvPr userDrawn="1"/>
        </p:nvSpPr>
        <p:spPr>
          <a:xfrm>
            <a:off x="6398914" y="3983190"/>
            <a:ext cx="2305444" cy="2037030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4" name="Avrundet rektangel 33">
            <a:extLst>
              <a:ext uri="{FF2B5EF4-FFF2-40B4-BE49-F238E27FC236}">
                <a16:creationId xmlns:a16="http://schemas.microsoft.com/office/drawing/2014/main" id="{00684041-3F61-08AA-7051-F67846E7B330}"/>
              </a:ext>
            </a:extLst>
          </p:cNvPr>
          <p:cNvSpPr/>
          <p:nvPr userDrawn="1"/>
        </p:nvSpPr>
        <p:spPr>
          <a:xfrm>
            <a:off x="9181431" y="3969743"/>
            <a:ext cx="2305444" cy="2037030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solidFill>
              <a:schemeClr val="accent5"/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35" name="Plassholder for tekst 15">
            <a:extLst>
              <a:ext uri="{FF2B5EF4-FFF2-40B4-BE49-F238E27FC236}">
                <a16:creationId xmlns:a16="http://schemas.microsoft.com/office/drawing/2014/main" id="{76D4177E-A883-50F0-BF1D-4A2075FEBED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28511" y="5065059"/>
            <a:ext cx="2083913" cy="832211"/>
          </a:xfrm>
        </p:spPr>
        <p:txBody>
          <a:bodyPr lIns="36000">
            <a:normAutofit/>
          </a:bodyPr>
          <a:lstStyle>
            <a:lvl1pPr marL="0" indent="0" algn="ctr">
              <a:buNone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6" name="Plassholder for tekst 13">
            <a:extLst>
              <a:ext uri="{FF2B5EF4-FFF2-40B4-BE49-F238E27FC236}">
                <a16:creationId xmlns:a16="http://schemas.microsoft.com/office/drawing/2014/main" id="{981E0980-920B-8C6D-8FE5-77192D29588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30569" y="4162994"/>
            <a:ext cx="2081855" cy="773215"/>
          </a:xfrm>
        </p:spPr>
        <p:txBody>
          <a:bodyPr lIns="36000"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7" name="Plassholder for tekst 15">
            <a:extLst>
              <a:ext uri="{FF2B5EF4-FFF2-40B4-BE49-F238E27FC236}">
                <a16:creationId xmlns:a16="http://schemas.microsoft.com/office/drawing/2014/main" id="{DF96F51E-AA0D-5A6D-00C9-7DAB4670B6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16535" y="5056094"/>
            <a:ext cx="2083913" cy="832211"/>
          </a:xfrm>
        </p:spPr>
        <p:txBody>
          <a:bodyPr lIns="36000">
            <a:normAutofit/>
          </a:bodyPr>
          <a:lstStyle>
            <a:lvl1pPr marL="0" indent="0" algn="ctr">
              <a:buNone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8" name="Plassholder for tekst 13">
            <a:extLst>
              <a:ext uri="{FF2B5EF4-FFF2-40B4-BE49-F238E27FC236}">
                <a16:creationId xmlns:a16="http://schemas.microsoft.com/office/drawing/2014/main" id="{089FA5AB-5562-BED2-8705-FC10E37DC95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18593" y="4154029"/>
            <a:ext cx="2081855" cy="773215"/>
          </a:xfrm>
        </p:spPr>
        <p:txBody>
          <a:bodyPr lIns="36000"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9" name="Plassholder for tekst 15">
            <a:extLst>
              <a:ext uri="{FF2B5EF4-FFF2-40B4-BE49-F238E27FC236}">
                <a16:creationId xmlns:a16="http://schemas.microsoft.com/office/drawing/2014/main" id="{A29A920A-3A3B-9121-40A7-75AB0525BA3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299052" y="5042647"/>
            <a:ext cx="2083913" cy="832211"/>
          </a:xfrm>
        </p:spPr>
        <p:txBody>
          <a:bodyPr lIns="36000">
            <a:normAutofit/>
          </a:bodyPr>
          <a:lstStyle>
            <a:lvl1pPr marL="0" indent="0" algn="ctr">
              <a:buNone/>
              <a:tabLst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0" name="Plassholder for tekst 13">
            <a:extLst>
              <a:ext uri="{FF2B5EF4-FFF2-40B4-BE49-F238E27FC236}">
                <a16:creationId xmlns:a16="http://schemas.microsoft.com/office/drawing/2014/main" id="{A4967F7B-9F86-FE74-1E78-6163453BAAE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301110" y="4140582"/>
            <a:ext cx="2081855" cy="773215"/>
          </a:xfrm>
        </p:spPr>
        <p:txBody>
          <a:bodyPr lIns="36000"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41" name="Trekant 40">
            <a:extLst>
              <a:ext uri="{FF2B5EF4-FFF2-40B4-BE49-F238E27FC236}">
                <a16:creationId xmlns:a16="http://schemas.microsoft.com/office/drawing/2014/main" id="{70FF27F1-8E27-9BD7-B655-22B1F1F74E73}"/>
              </a:ext>
            </a:extLst>
          </p:cNvPr>
          <p:cNvSpPr/>
          <p:nvPr userDrawn="1"/>
        </p:nvSpPr>
        <p:spPr>
          <a:xfrm rot="5400000">
            <a:off x="5945203" y="4761630"/>
            <a:ext cx="448819" cy="242983"/>
          </a:xfrm>
          <a:prstGeom prst="triangle">
            <a:avLst>
              <a:gd name="adj" fmla="val 5711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2" name="Trekant 41">
            <a:extLst>
              <a:ext uri="{FF2B5EF4-FFF2-40B4-BE49-F238E27FC236}">
                <a16:creationId xmlns:a16="http://schemas.microsoft.com/office/drawing/2014/main" id="{663A5F6A-ECA2-0F56-CC62-DEAD374FF152}"/>
              </a:ext>
            </a:extLst>
          </p:cNvPr>
          <p:cNvSpPr/>
          <p:nvPr userDrawn="1"/>
        </p:nvSpPr>
        <p:spPr>
          <a:xfrm rot="5400000">
            <a:off x="8745841" y="4761630"/>
            <a:ext cx="448819" cy="242983"/>
          </a:xfrm>
          <a:prstGeom prst="triangle">
            <a:avLst>
              <a:gd name="adj" fmla="val 5711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507176E-D6C5-4BC5-6818-00FC3F814C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7197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B90825EE-8DD1-7693-BFF5-AB1AF803B5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2878" y="3170967"/>
            <a:ext cx="1722992" cy="520872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BD6700FA-FA88-C08F-E9E8-91F2C4E9A6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0820" y="3705727"/>
            <a:ext cx="1722992" cy="2710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81278DD-196F-F7EE-9671-79CB60E9E94B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56797" y="1966479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6" name="Plassholder for bilde 2">
            <a:extLst>
              <a:ext uri="{FF2B5EF4-FFF2-40B4-BE49-F238E27FC236}">
                <a16:creationId xmlns:a16="http://schemas.microsoft.com/office/drawing/2014/main" id="{EF25F938-1657-777C-720D-BB7FCD77A5F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735795" y="1966479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CC1F8FEF-7911-93C4-FE3E-637B993A6FD1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618662" y="1966479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18" name="Plassholder for tekst 13">
            <a:extLst>
              <a:ext uri="{FF2B5EF4-FFF2-40B4-BE49-F238E27FC236}">
                <a16:creationId xmlns:a16="http://schemas.microsoft.com/office/drawing/2014/main" id="{D907285B-72C6-904E-EE54-EE99663516C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406698" y="3178991"/>
            <a:ext cx="1722992" cy="520872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9" name="Plassholder for tekst 15">
            <a:extLst>
              <a:ext uri="{FF2B5EF4-FFF2-40B4-BE49-F238E27FC236}">
                <a16:creationId xmlns:a16="http://schemas.microsoft.com/office/drawing/2014/main" id="{40C0D56B-5388-4A71-AF14-01D7908C57B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404640" y="3713751"/>
            <a:ext cx="1722992" cy="2710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8" name="Plassholder for tekst 13">
            <a:extLst>
              <a:ext uri="{FF2B5EF4-FFF2-40B4-BE49-F238E27FC236}">
                <a16:creationId xmlns:a16="http://schemas.microsoft.com/office/drawing/2014/main" id="{C43DD1BF-A418-22E0-DEC9-94295F5FE60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283632" y="3169361"/>
            <a:ext cx="1722992" cy="520872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1" name="Plassholder for tekst 15">
            <a:extLst>
              <a:ext uri="{FF2B5EF4-FFF2-40B4-BE49-F238E27FC236}">
                <a16:creationId xmlns:a16="http://schemas.microsoft.com/office/drawing/2014/main" id="{E1AEE368-ACB8-38C8-33E9-33E241C5DEB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281574" y="3704121"/>
            <a:ext cx="1722992" cy="2710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38" name="Plassholder for tekst 13">
            <a:extLst>
              <a:ext uri="{FF2B5EF4-FFF2-40B4-BE49-F238E27FC236}">
                <a16:creationId xmlns:a16="http://schemas.microsoft.com/office/drawing/2014/main" id="{2BA49EC6-E025-01DC-B42C-95F2D316CD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91262" y="3172569"/>
            <a:ext cx="1722992" cy="520872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9" name="Plassholder for tekst 15">
            <a:extLst>
              <a:ext uri="{FF2B5EF4-FFF2-40B4-BE49-F238E27FC236}">
                <a16:creationId xmlns:a16="http://schemas.microsoft.com/office/drawing/2014/main" id="{4F2571A1-D49F-88FF-292F-C315C8D513A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89204" y="3707329"/>
            <a:ext cx="1722992" cy="2710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0" name="Plassholder for bilde 2">
            <a:extLst>
              <a:ext uri="{FF2B5EF4-FFF2-40B4-BE49-F238E27FC236}">
                <a16:creationId xmlns:a16="http://schemas.microsoft.com/office/drawing/2014/main" id="{E72D4160-471D-DFD5-5149-25072FF1D53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6555181" y="1968081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41" name="Plassholder for bilde 2">
            <a:extLst>
              <a:ext uri="{FF2B5EF4-FFF2-40B4-BE49-F238E27FC236}">
                <a16:creationId xmlns:a16="http://schemas.microsoft.com/office/drawing/2014/main" id="{0B190E9B-D501-0D2C-38EE-C0485192A194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8434179" y="1968081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42" name="Plassholder for bilde 2">
            <a:extLst>
              <a:ext uri="{FF2B5EF4-FFF2-40B4-BE49-F238E27FC236}">
                <a16:creationId xmlns:a16="http://schemas.microsoft.com/office/drawing/2014/main" id="{198C377D-0398-5F59-2D0C-284D4AEF2C6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10326671" y="1968081"/>
            <a:ext cx="1080000" cy="1080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icon</a:t>
            </a:r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29239953-635A-6688-3B3E-5B70C817C15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05082" y="3180593"/>
            <a:ext cx="1722992" cy="520872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44" name="Plassholder for tekst 15">
            <a:extLst>
              <a:ext uri="{FF2B5EF4-FFF2-40B4-BE49-F238E27FC236}">
                <a16:creationId xmlns:a16="http://schemas.microsoft.com/office/drawing/2014/main" id="{A6E9925C-7AA2-55A5-54E7-DE74E56A5F1A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103024" y="3715353"/>
            <a:ext cx="1722992" cy="2710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45" name="Plassholder for tekst 13">
            <a:extLst>
              <a:ext uri="{FF2B5EF4-FFF2-40B4-BE49-F238E27FC236}">
                <a16:creationId xmlns:a16="http://schemas.microsoft.com/office/drawing/2014/main" id="{DC0EC580-2B24-8EE9-8D6E-0BB9FBD2F3C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991641" y="3170963"/>
            <a:ext cx="1722992" cy="520872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46" name="Plassholder for tekst 15">
            <a:extLst>
              <a:ext uri="{FF2B5EF4-FFF2-40B4-BE49-F238E27FC236}">
                <a16:creationId xmlns:a16="http://schemas.microsoft.com/office/drawing/2014/main" id="{031960C3-3915-CEFC-5F88-E6F4EF8E8BEE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989583" y="3705723"/>
            <a:ext cx="1722992" cy="2710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C44FA146-CF34-776B-EAB8-EC7356F1F2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5128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ix optional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vrundet rektangel 14">
            <a:extLst>
              <a:ext uri="{FF2B5EF4-FFF2-40B4-BE49-F238E27FC236}">
                <a16:creationId xmlns:a16="http://schemas.microsoft.com/office/drawing/2014/main" id="{449436DF-3DAB-9D01-5102-1D16FD1EC27B}"/>
              </a:ext>
            </a:extLst>
          </p:cNvPr>
          <p:cNvSpPr/>
          <p:nvPr userDrawn="1"/>
        </p:nvSpPr>
        <p:spPr>
          <a:xfrm>
            <a:off x="4186989" y="1183907"/>
            <a:ext cx="7553693" cy="1164657"/>
          </a:xfrm>
          <a:prstGeom prst="roundRect">
            <a:avLst>
              <a:gd name="adj" fmla="val 10756"/>
            </a:avLst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B90825EE-8DD1-7693-BFF5-AB1AF803B5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85371" y="3055463"/>
            <a:ext cx="2088682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1" name="Plassholder for tekst 13">
            <a:extLst>
              <a:ext uri="{FF2B5EF4-FFF2-40B4-BE49-F238E27FC236}">
                <a16:creationId xmlns:a16="http://schemas.microsoft.com/office/drawing/2014/main" id="{6771C715-72A7-2F6A-C030-0FE2625203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62375" y="1337911"/>
            <a:ext cx="6824312" cy="263227"/>
          </a:xfrm>
        </p:spPr>
        <p:txBody>
          <a:bodyPr lIns="36000" anchor="b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2" name="Plassholder for bilde 3">
            <a:extLst>
              <a:ext uri="{FF2B5EF4-FFF2-40B4-BE49-F238E27FC236}">
                <a16:creationId xmlns:a16="http://schemas.microsoft.com/office/drawing/2014/main" id="{0C5D3BC9-7DDD-BFDF-62DF-706868317A4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504622" y="1667425"/>
            <a:ext cx="2040556" cy="1326032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 dirty="0"/>
              <a:t>Insert photo</a:t>
            </a:r>
          </a:p>
        </p:txBody>
      </p:sp>
      <p:sp>
        <p:nvSpPr>
          <p:cNvPr id="3" name="Plassholder for bilde 3">
            <a:extLst>
              <a:ext uri="{FF2B5EF4-FFF2-40B4-BE49-F238E27FC236}">
                <a16:creationId xmlns:a16="http://schemas.microsoft.com/office/drawing/2014/main" id="{3E91B713-47AD-AE1A-8BE1-959FD1280DBD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938210" y="1665821"/>
            <a:ext cx="2040556" cy="1326032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BED90412-CEAF-375D-19EC-5FA11A98FA6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363775" y="1656196"/>
            <a:ext cx="2040556" cy="1326032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085673E1-2D5E-82BD-39F0-3727F868B0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47834" y="3063486"/>
            <a:ext cx="2088682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331DC8A9-DA67-46CB-B98D-301198786D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83025" y="3050931"/>
            <a:ext cx="2088682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13" name="Avrundet rektangel 12">
            <a:extLst>
              <a:ext uri="{FF2B5EF4-FFF2-40B4-BE49-F238E27FC236}">
                <a16:creationId xmlns:a16="http://schemas.microsoft.com/office/drawing/2014/main" id="{72186595-3634-DC7B-1635-F627346612D0}"/>
              </a:ext>
            </a:extLst>
          </p:cNvPr>
          <p:cNvSpPr/>
          <p:nvPr userDrawn="1"/>
        </p:nvSpPr>
        <p:spPr>
          <a:xfrm>
            <a:off x="4146882" y="3848500"/>
            <a:ext cx="7553693" cy="1164657"/>
          </a:xfrm>
          <a:prstGeom prst="roundRect">
            <a:avLst>
              <a:gd name="adj" fmla="val 10756"/>
            </a:avLst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2" name="Plassholder for tekst 13">
            <a:extLst>
              <a:ext uri="{FF2B5EF4-FFF2-40B4-BE49-F238E27FC236}">
                <a16:creationId xmlns:a16="http://schemas.microsoft.com/office/drawing/2014/main" id="{E3A866EA-E59D-E3C4-6224-75D2D32ECF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45264" y="5720056"/>
            <a:ext cx="2088682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993ED1C6-D55B-38AA-65A3-12085154D3C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22268" y="4002504"/>
            <a:ext cx="6824312" cy="263227"/>
          </a:xfrm>
        </p:spPr>
        <p:txBody>
          <a:bodyPr lIns="36000" anchor="b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28" name="Plassholder for bilde 3">
            <a:extLst>
              <a:ext uri="{FF2B5EF4-FFF2-40B4-BE49-F238E27FC236}">
                <a16:creationId xmlns:a16="http://schemas.microsoft.com/office/drawing/2014/main" id="{FB9857D2-4EFF-02E6-4984-EEA9E49B2D5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464515" y="4332018"/>
            <a:ext cx="2040556" cy="1326032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34" name="Plassholder for bilde 3">
            <a:extLst>
              <a:ext uri="{FF2B5EF4-FFF2-40B4-BE49-F238E27FC236}">
                <a16:creationId xmlns:a16="http://schemas.microsoft.com/office/drawing/2014/main" id="{F9764685-9E82-4BF6-5A6E-ABAB6A962A3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98103" y="4330414"/>
            <a:ext cx="2040556" cy="1326032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35" name="Plassholder for bilde 3">
            <a:extLst>
              <a:ext uri="{FF2B5EF4-FFF2-40B4-BE49-F238E27FC236}">
                <a16:creationId xmlns:a16="http://schemas.microsoft.com/office/drawing/2014/main" id="{01286EF6-1E73-AD9B-BAE3-ACF8F8C7A96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323668" y="4320789"/>
            <a:ext cx="2040556" cy="1326032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36" name="Plassholder for tekst 13">
            <a:extLst>
              <a:ext uri="{FF2B5EF4-FFF2-40B4-BE49-F238E27FC236}">
                <a16:creationId xmlns:a16="http://schemas.microsoft.com/office/drawing/2014/main" id="{C53B4404-3E00-A8D2-C2C0-4BF5EA8F0A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07727" y="5728079"/>
            <a:ext cx="2088682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38" name="Plassholder for tekst 13">
            <a:extLst>
              <a:ext uri="{FF2B5EF4-FFF2-40B4-BE49-F238E27FC236}">
                <a16:creationId xmlns:a16="http://schemas.microsoft.com/office/drawing/2014/main" id="{A9ECCCC2-038B-1464-7878-C6B76B4A7BF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342918" y="5715524"/>
            <a:ext cx="2088682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39" name="Tittel 1">
            <a:extLst>
              <a:ext uri="{FF2B5EF4-FFF2-40B4-BE49-F238E27FC236}">
                <a16:creationId xmlns:a16="http://schemas.microsoft.com/office/drawing/2014/main" id="{D1A5BBED-46C5-091A-03F3-6F3D18D2B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1069166"/>
            <a:ext cx="3332178" cy="883459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ing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40" name="Plassholder for innhold 2">
            <a:extLst>
              <a:ext uri="{FF2B5EF4-FFF2-40B4-BE49-F238E27FC236}">
                <a16:creationId xmlns:a16="http://schemas.microsoft.com/office/drawing/2014/main" id="{87EA42A1-721D-3138-6CD6-2376478B473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312987"/>
            <a:ext cx="3317616" cy="4103687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 </a:t>
            </a:r>
          </a:p>
        </p:txBody>
      </p:sp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C6833833-CC72-5259-DFC9-F37CEB88DB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3303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ix optional photo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vrundet rektangel 14">
            <a:extLst>
              <a:ext uri="{FF2B5EF4-FFF2-40B4-BE49-F238E27FC236}">
                <a16:creationId xmlns:a16="http://schemas.microsoft.com/office/drawing/2014/main" id="{449436DF-3DAB-9D01-5102-1D16FD1EC27B}"/>
              </a:ext>
            </a:extLst>
          </p:cNvPr>
          <p:cNvSpPr/>
          <p:nvPr userDrawn="1"/>
        </p:nvSpPr>
        <p:spPr>
          <a:xfrm>
            <a:off x="4177936" y="1075271"/>
            <a:ext cx="7553693" cy="1164657"/>
          </a:xfrm>
          <a:prstGeom prst="roundRect">
            <a:avLst>
              <a:gd name="adj" fmla="val 10756"/>
            </a:avLst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71934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75524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B90825EE-8DD1-7693-BFF5-AB1AF803B5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6318" y="3345166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1" name="Plassholder for tekst 13">
            <a:extLst>
              <a:ext uri="{FF2B5EF4-FFF2-40B4-BE49-F238E27FC236}">
                <a16:creationId xmlns:a16="http://schemas.microsoft.com/office/drawing/2014/main" id="{6771C715-72A7-2F6A-C030-0FE2625203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53322" y="1129692"/>
            <a:ext cx="6824312" cy="263227"/>
          </a:xfrm>
        </p:spPr>
        <p:txBody>
          <a:bodyPr lIns="36000" anchor="b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085673E1-2D5E-82BD-39F0-3727F868B0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38781" y="3344136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331DC8A9-DA67-46CB-B98D-301198786D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73972" y="3331581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3" name="Avrundet rektangel 12">
            <a:extLst>
              <a:ext uri="{FF2B5EF4-FFF2-40B4-BE49-F238E27FC236}">
                <a16:creationId xmlns:a16="http://schemas.microsoft.com/office/drawing/2014/main" id="{72186595-3634-DC7B-1635-F627346612D0}"/>
              </a:ext>
            </a:extLst>
          </p:cNvPr>
          <p:cNvSpPr/>
          <p:nvPr userDrawn="1"/>
        </p:nvSpPr>
        <p:spPr>
          <a:xfrm>
            <a:off x="4146882" y="3803235"/>
            <a:ext cx="7553693" cy="1164657"/>
          </a:xfrm>
          <a:prstGeom prst="roundRect">
            <a:avLst>
              <a:gd name="adj" fmla="val 10756"/>
            </a:avLst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2" name="Plassholder for tekst 13">
            <a:extLst>
              <a:ext uri="{FF2B5EF4-FFF2-40B4-BE49-F238E27FC236}">
                <a16:creationId xmlns:a16="http://schemas.microsoft.com/office/drawing/2014/main" id="{E3A866EA-E59D-E3C4-6224-75D2D32ECF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45264" y="6073130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993ED1C6-D55B-38AA-65A3-12085154D3C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22268" y="3857656"/>
            <a:ext cx="6824312" cy="263227"/>
          </a:xfrm>
        </p:spPr>
        <p:txBody>
          <a:bodyPr lIns="36000" anchor="b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6" name="Plassholder for tekst 13">
            <a:extLst>
              <a:ext uri="{FF2B5EF4-FFF2-40B4-BE49-F238E27FC236}">
                <a16:creationId xmlns:a16="http://schemas.microsoft.com/office/drawing/2014/main" id="{C53B4404-3E00-A8D2-C2C0-4BF5EA8F0A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07727" y="6072100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8" name="Plassholder for tekst 13">
            <a:extLst>
              <a:ext uri="{FF2B5EF4-FFF2-40B4-BE49-F238E27FC236}">
                <a16:creationId xmlns:a16="http://schemas.microsoft.com/office/drawing/2014/main" id="{A9ECCCC2-038B-1464-7878-C6B76B4A7BF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342918" y="6059545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9" name="Tittel 1">
            <a:extLst>
              <a:ext uri="{FF2B5EF4-FFF2-40B4-BE49-F238E27FC236}">
                <a16:creationId xmlns:a16="http://schemas.microsoft.com/office/drawing/2014/main" id="{D1A5BBED-46C5-091A-03F3-6F3D18D2B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1069166"/>
            <a:ext cx="3332178" cy="883459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ing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40" name="Plassholder for innhold 2">
            <a:extLst>
              <a:ext uri="{FF2B5EF4-FFF2-40B4-BE49-F238E27FC236}">
                <a16:creationId xmlns:a16="http://schemas.microsoft.com/office/drawing/2014/main" id="{87EA42A1-721D-3138-6CD6-2376478B473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312987"/>
            <a:ext cx="3317616" cy="4103687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 </a:t>
            </a:r>
          </a:p>
        </p:txBody>
      </p:sp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61633E0-7598-370F-441A-A4B7682A5D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  <p:sp>
        <p:nvSpPr>
          <p:cNvPr id="2" name="Plassholder for bilde 3">
            <a:extLst>
              <a:ext uri="{FF2B5EF4-FFF2-40B4-BE49-F238E27FC236}">
                <a16:creationId xmlns:a16="http://schemas.microsoft.com/office/drawing/2014/main" id="{0C5D3BC9-7DDD-BFDF-62DF-706868317A4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495569" y="1439507"/>
            <a:ext cx="2040556" cy="1865008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3" name="Plassholder for bilde 3">
            <a:extLst>
              <a:ext uri="{FF2B5EF4-FFF2-40B4-BE49-F238E27FC236}">
                <a16:creationId xmlns:a16="http://schemas.microsoft.com/office/drawing/2014/main" id="{3E91B713-47AD-AE1A-8BE1-959FD1280DBD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929157" y="1437903"/>
            <a:ext cx="2040556" cy="1865008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BED90412-CEAF-375D-19EC-5FA11A98FA6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354722" y="1428278"/>
            <a:ext cx="2040556" cy="1865008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28" name="Plassholder for bilde 3">
            <a:extLst>
              <a:ext uri="{FF2B5EF4-FFF2-40B4-BE49-F238E27FC236}">
                <a16:creationId xmlns:a16="http://schemas.microsoft.com/office/drawing/2014/main" id="{FB9857D2-4EFF-02E6-4984-EEA9E49B2D5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464515" y="4158418"/>
            <a:ext cx="2040556" cy="1865008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34" name="Plassholder for bilde 3">
            <a:extLst>
              <a:ext uri="{FF2B5EF4-FFF2-40B4-BE49-F238E27FC236}">
                <a16:creationId xmlns:a16="http://schemas.microsoft.com/office/drawing/2014/main" id="{F9764685-9E82-4BF6-5A6E-ABAB6A962A38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898103" y="4156814"/>
            <a:ext cx="2040556" cy="1865008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35" name="Plassholder for bilde 3">
            <a:extLst>
              <a:ext uri="{FF2B5EF4-FFF2-40B4-BE49-F238E27FC236}">
                <a16:creationId xmlns:a16="http://schemas.microsoft.com/office/drawing/2014/main" id="{01286EF6-1E73-AD9B-BAE3-ACF8F8C7A96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9323668" y="4147189"/>
            <a:ext cx="2040556" cy="1865008"/>
          </a:xfrm>
          <a:prstGeom prst="roundRect">
            <a:avLst>
              <a:gd name="adj" fmla="val 13286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</p:spTree>
    <p:extLst>
      <p:ext uri="{BB962C8B-B14F-4D97-AF65-F5344CB8AC3E}">
        <p14:creationId xmlns:p14="http://schemas.microsoft.com/office/powerpoint/2010/main" val="4272141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6" y="2306967"/>
            <a:ext cx="550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  <a:highlight>
                  <a:srgbClr val="EDEEF1"/>
                </a:highlight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3" y="2924175"/>
            <a:ext cx="5508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979514DF-18DF-B28E-8EA6-5495E119ED03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6203988" y="2314988"/>
            <a:ext cx="550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/>
              <a:t>Click and insert heading</a:t>
            </a:r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1B688679-397E-61F0-2558-3BD2EB8391F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204575" y="2924175"/>
            <a:ext cx="5508000" cy="3492500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– 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A8097EF2-2F89-B61C-3675-FAC08C3252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4322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six optional photo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vrundet rektangel 14">
            <a:extLst>
              <a:ext uri="{FF2B5EF4-FFF2-40B4-BE49-F238E27FC236}">
                <a16:creationId xmlns:a16="http://schemas.microsoft.com/office/drawing/2014/main" id="{449436DF-3DAB-9D01-5102-1D16FD1EC27B}"/>
              </a:ext>
            </a:extLst>
          </p:cNvPr>
          <p:cNvSpPr/>
          <p:nvPr userDrawn="1"/>
        </p:nvSpPr>
        <p:spPr>
          <a:xfrm>
            <a:off x="4177936" y="1075271"/>
            <a:ext cx="7553693" cy="1164657"/>
          </a:xfrm>
          <a:prstGeom prst="roundRect">
            <a:avLst>
              <a:gd name="adj" fmla="val 10756"/>
            </a:avLst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71934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75524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B90825EE-8DD1-7693-BFF5-AB1AF803B5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76318" y="3345166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1" name="Plassholder for tekst 13">
            <a:extLst>
              <a:ext uri="{FF2B5EF4-FFF2-40B4-BE49-F238E27FC236}">
                <a16:creationId xmlns:a16="http://schemas.microsoft.com/office/drawing/2014/main" id="{6771C715-72A7-2F6A-C030-0FE2625203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53322" y="1129692"/>
            <a:ext cx="6824312" cy="263227"/>
          </a:xfrm>
        </p:spPr>
        <p:txBody>
          <a:bodyPr lIns="36000" anchor="b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8" name="Plassholder for tekst 13">
            <a:extLst>
              <a:ext uri="{FF2B5EF4-FFF2-40B4-BE49-F238E27FC236}">
                <a16:creationId xmlns:a16="http://schemas.microsoft.com/office/drawing/2014/main" id="{085673E1-2D5E-82BD-39F0-3727F868B07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938781" y="3344136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331DC8A9-DA67-46CB-B98D-301198786D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373972" y="3331581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3" name="Avrundet rektangel 12">
            <a:extLst>
              <a:ext uri="{FF2B5EF4-FFF2-40B4-BE49-F238E27FC236}">
                <a16:creationId xmlns:a16="http://schemas.microsoft.com/office/drawing/2014/main" id="{72186595-3634-DC7B-1635-F627346612D0}"/>
              </a:ext>
            </a:extLst>
          </p:cNvPr>
          <p:cNvSpPr/>
          <p:nvPr userDrawn="1"/>
        </p:nvSpPr>
        <p:spPr>
          <a:xfrm>
            <a:off x="4146882" y="3803235"/>
            <a:ext cx="7553693" cy="1164657"/>
          </a:xfrm>
          <a:prstGeom prst="roundRect">
            <a:avLst>
              <a:gd name="adj" fmla="val 10756"/>
            </a:avLst>
          </a:prstGeom>
          <a:solidFill>
            <a:schemeClr val="accent5">
              <a:alpha val="25000"/>
            </a:schemeClr>
          </a:solidFill>
          <a:ln>
            <a:solidFill>
              <a:schemeClr val="accent6">
                <a:alpha val="25098"/>
              </a:schemeClr>
            </a:solidFill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2" name="Plassholder for tekst 13">
            <a:extLst>
              <a:ext uri="{FF2B5EF4-FFF2-40B4-BE49-F238E27FC236}">
                <a16:creationId xmlns:a16="http://schemas.microsoft.com/office/drawing/2014/main" id="{E3A866EA-E59D-E3C4-6224-75D2D32ECF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45264" y="6073130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993ED1C6-D55B-38AA-65A3-12085154D3C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522268" y="3857656"/>
            <a:ext cx="6824312" cy="263227"/>
          </a:xfrm>
        </p:spPr>
        <p:txBody>
          <a:bodyPr lIns="36000" anchor="b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36" name="Plassholder for tekst 13">
            <a:extLst>
              <a:ext uri="{FF2B5EF4-FFF2-40B4-BE49-F238E27FC236}">
                <a16:creationId xmlns:a16="http://schemas.microsoft.com/office/drawing/2014/main" id="{C53B4404-3E00-A8D2-C2C0-4BF5EA8F0A9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07727" y="6072100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8" name="Plassholder for tekst 13">
            <a:extLst>
              <a:ext uri="{FF2B5EF4-FFF2-40B4-BE49-F238E27FC236}">
                <a16:creationId xmlns:a16="http://schemas.microsoft.com/office/drawing/2014/main" id="{A9ECCCC2-038B-1464-7878-C6B76B4A7BF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342918" y="6059545"/>
            <a:ext cx="2088682" cy="422736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2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39" name="Tittel 1">
            <a:extLst>
              <a:ext uri="{FF2B5EF4-FFF2-40B4-BE49-F238E27FC236}">
                <a16:creationId xmlns:a16="http://schemas.microsoft.com/office/drawing/2014/main" id="{D1A5BBED-46C5-091A-03F3-6F3D18D2B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1069166"/>
            <a:ext cx="3332178" cy="883459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ing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40" name="Plassholder for innhold 2">
            <a:extLst>
              <a:ext uri="{FF2B5EF4-FFF2-40B4-BE49-F238E27FC236}">
                <a16:creationId xmlns:a16="http://schemas.microsoft.com/office/drawing/2014/main" id="{87EA42A1-721D-3138-6CD6-2376478B473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2312987"/>
            <a:ext cx="3317616" cy="4103687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 </a:t>
            </a:r>
          </a:p>
        </p:txBody>
      </p:sp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61633E0-7598-370F-441A-A4B7682A5D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  <p:pic>
        <p:nvPicPr>
          <p:cNvPr id="17" name="Plassholder for bilde 18" descr="Et bilde som inneholder innendørs, tog&#10;&#10;Automatisk generert beskrivelse med middels konfidens">
            <a:extLst>
              <a:ext uri="{FF2B5EF4-FFF2-40B4-BE49-F238E27FC236}">
                <a16:creationId xmlns:a16="http://schemas.microsoft.com/office/drawing/2014/main" id="{CC36F9EF-E2E8-4703-68FB-722BA58363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95569" y="1439507"/>
            <a:ext cx="2040556" cy="1865008"/>
          </a:xfrm>
          <a:prstGeom prst="roundRect">
            <a:avLst>
              <a:gd name="adj" fmla="val 13286"/>
            </a:avLst>
          </a:prstGeom>
          <a:noFill/>
        </p:spPr>
      </p:pic>
      <p:pic>
        <p:nvPicPr>
          <p:cNvPr id="18" name="Plassholder for bilde 20" descr="Et bilde som inneholder line, persienne&#10;&#10;Automatisk generert beskrivelse">
            <a:extLst>
              <a:ext uri="{FF2B5EF4-FFF2-40B4-BE49-F238E27FC236}">
                <a16:creationId xmlns:a16="http://schemas.microsoft.com/office/drawing/2014/main" id="{B0E51299-932A-8795-ED97-36CBACED80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29157" y="1437903"/>
            <a:ext cx="2040556" cy="1865008"/>
          </a:xfrm>
          <a:prstGeom prst="roundRect">
            <a:avLst>
              <a:gd name="adj" fmla="val 13286"/>
            </a:avLst>
          </a:prstGeom>
          <a:noFill/>
        </p:spPr>
      </p:pic>
      <p:pic>
        <p:nvPicPr>
          <p:cNvPr id="19" name="Plassholder for bilde 22" descr="Et bilde som inneholder himmel, utendørs, kran, tåke&#10;&#10;Automatisk generert beskrivelse">
            <a:extLst>
              <a:ext uri="{FF2B5EF4-FFF2-40B4-BE49-F238E27FC236}">
                <a16:creationId xmlns:a16="http://schemas.microsoft.com/office/drawing/2014/main" id="{B1756806-40D9-15B8-C0ED-F3281B42D6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54722" y="1428278"/>
            <a:ext cx="2040556" cy="1865008"/>
          </a:xfrm>
          <a:prstGeom prst="roundRect">
            <a:avLst>
              <a:gd name="adj" fmla="val 13286"/>
            </a:avLst>
          </a:prstGeom>
          <a:noFill/>
        </p:spPr>
      </p:pic>
      <p:pic>
        <p:nvPicPr>
          <p:cNvPr id="20" name="Plassholder for bilde 24" descr="Et bilde som inneholder dekketøy&#10;&#10;Automatisk generert beskrivelse">
            <a:extLst>
              <a:ext uri="{FF2B5EF4-FFF2-40B4-BE49-F238E27FC236}">
                <a16:creationId xmlns:a16="http://schemas.microsoft.com/office/drawing/2014/main" id="{10FAFBB3-D87A-EF7A-15BD-6B62384E27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464515" y="4158418"/>
            <a:ext cx="2040556" cy="1865008"/>
          </a:xfrm>
          <a:prstGeom prst="roundRect">
            <a:avLst>
              <a:gd name="adj" fmla="val 13286"/>
            </a:avLst>
          </a:prstGeom>
          <a:noFill/>
        </p:spPr>
      </p:pic>
      <p:pic>
        <p:nvPicPr>
          <p:cNvPr id="23" name="Plassholder for bilde 26" descr="Et bilde som inneholder utendørs, sky, himmel, konstruksjon&#10;&#10;Automatisk generert beskrivelse">
            <a:extLst>
              <a:ext uri="{FF2B5EF4-FFF2-40B4-BE49-F238E27FC236}">
                <a16:creationId xmlns:a16="http://schemas.microsoft.com/office/drawing/2014/main" id="{1DF5FC07-9FC5-22B3-85C7-EECFE6F70F5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98103" y="4156814"/>
            <a:ext cx="2040556" cy="1865008"/>
          </a:xfrm>
          <a:prstGeom prst="roundRect">
            <a:avLst>
              <a:gd name="adj" fmla="val 13286"/>
            </a:avLst>
          </a:prstGeom>
          <a:noFill/>
        </p:spPr>
      </p:pic>
      <p:pic>
        <p:nvPicPr>
          <p:cNvPr id="25" name="Plassholder for bilde 28" descr="Et bilde som inneholder person, Mobiltelefon, finger, Bærbar kommunikasjonsenhet&#10;&#10;Automatisk generert beskrivelse">
            <a:extLst>
              <a:ext uri="{FF2B5EF4-FFF2-40B4-BE49-F238E27FC236}">
                <a16:creationId xmlns:a16="http://schemas.microsoft.com/office/drawing/2014/main" id="{B47BA5A0-8C27-3173-922B-17AF4236B5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323668" y="4147189"/>
            <a:ext cx="2040556" cy="1865008"/>
          </a:xfrm>
          <a:prstGeom prst="roundRect">
            <a:avLst>
              <a:gd name="adj" fmla="val 13286"/>
            </a:avLst>
          </a:prstGeom>
          <a:noFill/>
        </p:spPr>
      </p:pic>
    </p:spTree>
    <p:extLst>
      <p:ext uri="{BB962C8B-B14F-4D97-AF65-F5344CB8AC3E}">
        <p14:creationId xmlns:p14="http://schemas.microsoft.com/office/powerpoint/2010/main" val="3206255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optional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kstSylinder 28">
            <a:extLst>
              <a:ext uri="{FF2B5EF4-FFF2-40B4-BE49-F238E27FC236}">
                <a16:creationId xmlns:a16="http://schemas.microsoft.com/office/drawing/2014/main" id="{807F8AE4-C3B5-AC47-C030-3ABBAA5BC323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0A1FA4CA-EC86-A1E5-B608-1C684BA28F7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6" name="Plassholder for tekst 13">
            <a:extLst>
              <a:ext uri="{FF2B5EF4-FFF2-40B4-BE49-F238E27FC236}">
                <a16:creationId xmlns:a16="http://schemas.microsoft.com/office/drawing/2014/main" id="{B90825EE-8DD1-7693-BFF5-AB1AF803B57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62758" y="3679268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2" name="Plassholder for bilde 3">
            <a:extLst>
              <a:ext uri="{FF2B5EF4-FFF2-40B4-BE49-F238E27FC236}">
                <a16:creationId xmlns:a16="http://schemas.microsoft.com/office/drawing/2014/main" id="{0C5D3BC9-7DDD-BFDF-62DF-706868317A4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380198" y="2308832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39" name="Tittel 1">
            <a:extLst>
              <a:ext uri="{FF2B5EF4-FFF2-40B4-BE49-F238E27FC236}">
                <a16:creationId xmlns:a16="http://schemas.microsoft.com/office/drawing/2014/main" id="{D1A5BBED-46C5-091A-03F3-6F3D18D2B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49" cy="883459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Heading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5" name="Plassholder for tekst 13">
            <a:extLst>
              <a:ext uri="{FF2B5EF4-FFF2-40B4-BE49-F238E27FC236}">
                <a16:creationId xmlns:a16="http://schemas.microsoft.com/office/drawing/2014/main" id="{4BE001C0-AFF0-B499-BDEC-F86F7111B60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76492" y="3697198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6" name="Plassholder for bilde 3">
            <a:extLst>
              <a:ext uri="{FF2B5EF4-FFF2-40B4-BE49-F238E27FC236}">
                <a16:creationId xmlns:a16="http://schemas.microsoft.com/office/drawing/2014/main" id="{067901F1-AA25-3152-20D1-95B6B6C4648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95743" y="2308832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26" name="Trekant 25">
            <a:extLst>
              <a:ext uri="{FF2B5EF4-FFF2-40B4-BE49-F238E27FC236}">
                <a16:creationId xmlns:a16="http://schemas.microsoft.com/office/drawing/2014/main" id="{DB1D281E-B2BE-511A-6C40-4AD134BDB813}"/>
              </a:ext>
            </a:extLst>
          </p:cNvPr>
          <p:cNvSpPr/>
          <p:nvPr userDrawn="1"/>
        </p:nvSpPr>
        <p:spPr>
          <a:xfrm rot="10800000">
            <a:off x="1170630" y="4183173"/>
            <a:ext cx="360000" cy="180000"/>
          </a:xfrm>
          <a:prstGeom prst="triangle">
            <a:avLst>
              <a:gd name="adj" fmla="val 5711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7" name="Trekant 26">
            <a:extLst>
              <a:ext uri="{FF2B5EF4-FFF2-40B4-BE49-F238E27FC236}">
                <a16:creationId xmlns:a16="http://schemas.microsoft.com/office/drawing/2014/main" id="{983C5AEE-EFB2-1957-D510-FE25615F570A}"/>
              </a:ext>
            </a:extLst>
          </p:cNvPr>
          <p:cNvSpPr/>
          <p:nvPr userDrawn="1"/>
        </p:nvSpPr>
        <p:spPr>
          <a:xfrm rot="10800000">
            <a:off x="3082094" y="4194256"/>
            <a:ext cx="360000" cy="180000"/>
          </a:xfrm>
          <a:prstGeom prst="triangle">
            <a:avLst>
              <a:gd name="adj" fmla="val 5711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3" name="Plassholder for tekst 13">
            <a:extLst>
              <a:ext uri="{FF2B5EF4-FFF2-40B4-BE49-F238E27FC236}">
                <a16:creationId xmlns:a16="http://schemas.microsoft.com/office/drawing/2014/main" id="{1D3958A7-0704-0145-E669-506EB35375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249024" y="3692184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44" name="Plassholder for bilde 3">
            <a:extLst>
              <a:ext uri="{FF2B5EF4-FFF2-40B4-BE49-F238E27FC236}">
                <a16:creationId xmlns:a16="http://schemas.microsoft.com/office/drawing/2014/main" id="{CAE6E705-93AB-3865-6FCF-94E00F25C9A7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264653" y="2308832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45" name="Trekant 44">
            <a:extLst>
              <a:ext uri="{FF2B5EF4-FFF2-40B4-BE49-F238E27FC236}">
                <a16:creationId xmlns:a16="http://schemas.microsoft.com/office/drawing/2014/main" id="{B5066CD4-46D3-FC82-2325-06E1756F1E23}"/>
              </a:ext>
            </a:extLst>
          </p:cNvPr>
          <p:cNvSpPr/>
          <p:nvPr userDrawn="1"/>
        </p:nvSpPr>
        <p:spPr>
          <a:xfrm rot="10800000">
            <a:off x="4970303" y="4207172"/>
            <a:ext cx="360000" cy="180000"/>
          </a:xfrm>
          <a:prstGeom prst="triangle">
            <a:avLst>
              <a:gd name="adj" fmla="val 5711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6" name="Plassholder for tekst 13">
            <a:extLst>
              <a:ext uri="{FF2B5EF4-FFF2-40B4-BE49-F238E27FC236}">
                <a16:creationId xmlns:a16="http://schemas.microsoft.com/office/drawing/2014/main" id="{FE14A603-2640-19DF-C0AB-F891DE48680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21556" y="3669649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47" name="Plassholder for bilde 3">
            <a:extLst>
              <a:ext uri="{FF2B5EF4-FFF2-40B4-BE49-F238E27FC236}">
                <a16:creationId xmlns:a16="http://schemas.microsoft.com/office/drawing/2014/main" id="{6D333CA0-8A7F-3700-2440-341D79BC03A8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8033563" y="2308832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48" name="Plassholder for tekst 13">
            <a:extLst>
              <a:ext uri="{FF2B5EF4-FFF2-40B4-BE49-F238E27FC236}">
                <a16:creationId xmlns:a16="http://schemas.microsoft.com/office/drawing/2014/main" id="{B7A364E6-034F-3E55-41F3-B185269AB5A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35290" y="3687579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49" name="Plassholder for bilde 3">
            <a:extLst>
              <a:ext uri="{FF2B5EF4-FFF2-40B4-BE49-F238E27FC236}">
                <a16:creationId xmlns:a16="http://schemas.microsoft.com/office/drawing/2014/main" id="{543C3B6B-81AD-07E8-5025-C60E92359141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6149108" y="2308832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50" name="Trekant 49">
            <a:extLst>
              <a:ext uri="{FF2B5EF4-FFF2-40B4-BE49-F238E27FC236}">
                <a16:creationId xmlns:a16="http://schemas.microsoft.com/office/drawing/2014/main" id="{D83A01AB-8AD7-38CF-8D27-F9D56C3FD8AE}"/>
              </a:ext>
            </a:extLst>
          </p:cNvPr>
          <p:cNvSpPr/>
          <p:nvPr userDrawn="1"/>
        </p:nvSpPr>
        <p:spPr>
          <a:xfrm rot="10800000">
            <a:off x="6852130" y="4173554"/>
            <a:ext cx="360000" cy="180000"/>
          </a:xfrm>
          <a:prstGeom prst="triangle">
            <a:avLst>
              <a:gd name="adj" fmla="val 5711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1" name="Trekant 50">
            <a:extLst>
              <a:ext uri="{FF2B5EF4-FFF2-40B4-BE49-F238E27FC236}">
                <a16:creationId xmlns:a16="http://schemas.microsoft.com/office/drawing/2014/main" id="{59743783-B976-6D43-E4A9-7E3D31D27F15}"/>
              </a:ext>
            </a:extLst>
          </p:cNvPr>
          <p:cNvSpPr/>
          <p:nvPr userDrawn="1"/>
        </p:nvSpPr>
        <p:spPr>
          <a:xfrm rot="10800000">
            <a:off x="8763594" y="4184637"/>
            <a:ext cx="360000" cy="180000"/>
          </a:xfrm>
          <a:prstGeom prst="triangle">
            <a:avLst>
              <a:gd name="adj" fmla="val 5711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2" name="Plassholder for tekst 13">
            <a:extLst>
              <a:ext uri="{FF2B5EF4-FFF2-40B4-BE49-F238E27FC236}">
                <a16:creationId xmlns:a16="http://schemas.microsoft.com/office/drawing/2014/main" id="{65DB881A-E2BD-4C4D-3B3F-B2C2805157E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907822" y="3682565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53" name="Plassholder for bilde 3">
            <a:extLst>
              <a:ext uri="{FF2B5EF4-FFF2-40B4-BE49-F238E27FC236}">
                <a16:creationId xmlns:a16="http://schemas.microsoft.com/office/drawing/2014/main" id="{A6A412A0-9076-431E-D50C-9A493D407DB6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9918020" y="2308832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54" name="Trekant 53">
            <a:extLst>
              <a:ext uri="{FF2B5EF4-FFF2-40B4-BE49-F238E27FC236}">
                <a16:creationId xmlns:a16="http://schemas.microsoft.com/office/drawing/2014/main" id="{0B3EF767-BD34-5B8B-2214-373C0B319FCC}"/>
              </a:ext>
            </a:extLst>
          </p:cNvPr>
          <p:cNvSpPr/>
          <p:nvPr userDrawn="1"/>
        </p:nvSpPr>
        <p:spPr>
          <a:xfrm rot="10800000">
            <a:off x="10588432" y="4197553"/>
            <a:ext cx="360000" cy="180000"/>
          </a:xfrm>
          <a:prstGeom prst="triangle">
            <a:avLst>
              <a:gd name="adj" fmla="val 57114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5" name="Plassholder for tekst 13">
            <a:extLst>
              <a:ext uri="{FF2B5EF4-FFF2-40B4-BE49-F238E27FC236}">
                <a16:creationId xmlns:a16="http://schemas.microsoft.com/office/drawing/2014/main" id="{119E5DBD-E958-E26D-A30F-30AFE49333C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380841" y="5892945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56" name="Plassholder for bilde 3">
            <a:extLst>
              <a:ext uri="{FF2B5EF4-FFF2-40B4-BE49-F238E27FC236}">
                <a16:creationId xmlns:a16="http://schemas.microsoft.com/office/drawing/2014/main" id="{97089BCF-EFB0-75D5-AD1B-8363C4D693F3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2363880" y="4522509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57" name="Plassholder for tekst 13">
            <a:extLst>
              <a:ext uri="{FF2B5EF4-FFF2-40B4-BE49-F238E27FC236}">
                <a16:creationId xmlns:a16="http://schemas.microsoft.com/office/drawing/2014/main" id="{3C362975-347B-A9FE-C7D6-0CD4A39E1B6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96386" y="5910875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58" name="Plassholder for bilde 3">
            <a:extLst>
              <a:ext uri="{FF2B5EF4-FFF2-40B4-BE49-F238E27FC236}">
                <a16:creationId xmlns:a16="http://schemas.microsoft.com/office/drawing/2014/main" id="{F568ACDB-8082-C531-12D0-29B1CAFBE312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479425" y="4522509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61" name="Plassholder for tekst 13">
            <a:extLst>
              <a:ext uri="{FF2B5EF4-FFF2-40B4-BE49-F238E27FC236}">
                <a16:creationId xmlns:a16="http://schemas.microsoft.com/office/drawing/2014/main" id="{A82B9C06-87E7-999B-B0EF-F003E71C5D8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4265296" y="5905861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62" name="Plassholder for bilde 3">
            <a:extLst>
              <a:ext uri="{FF2B5EF4-FFF2-40B4-BE49-F238E27FC236}">
                <a16:creationId xmlns:a16="http://schemas.microsoft.com/office/drawing/2014/main" id="{08B00760-F7D5-BEDD-4FA4-6D2B507A464F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4248335" y="4522509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64" name="Plassholder for tekst 13">
            <a:extLst>
              <a:ext uri="{FF2B5EF4-FFF2-40B4-BE49-F238E27FC236}">
                <a16:creationId xmlns:a16="http://schemas.microsoft.com/office/drawing/2014/main" id="{8D864704-9605-EB82-EAC3-9EA5BDD33FD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034206" y="5883326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65" name="Plassholder for bilde 3">
            <a:extLst>
              <a:ext uri="{FF2B5EF4-FFF2-40B4-BE49-F238E27FC236}">
                <a16:creationId xmlns:a16="http://schemas.microsoft.com/office/drawing/2014/main" id="{EC343D62-C5B8-FD30-4C75-D88739401900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8017245" y="4522509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66" name="Plassholder for tekst 13">
            <a:extLst>
              <a:ext uri="{FF2B5EF4-FFF2-40B4-BE49-F238E27FC236}">
                <a16:creationId xmlns:a16="http://schemas.microsoft.com/office/drawing/2014/main" id="{1F8E2BE0-D1B6-242B-8E2E-F8053AADFA9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149751" y="5901256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67" name="Plassholder for bilde 3">
            <a:extLst>
              <a:ext uri="{FF2B5EF4-FFF2-40B4-BE49-F238E27FC236}">
                <a16:creationId xmlns:a16="http://schemas.microsoft.com/office/drawing/2014/main" id="{801C5071-3110-2463-9CB4-00F7728E7E61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6132790" y="4522509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70" name="Plassholder for tekst 13">
            <a:extLst>
              <a:ext uri="{FF2B5EF4-FFF2-40B4-BE49-F238E27FC236}">
                <a16:creationId xmlns:a16="http://schemas.microsoft.com/office/drawing/2014/main" id="{F1F91CCA-BE77-4A1D-6837-98AA760BC90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918663" y="5896242"/>
            <a:ext cx="1792117" cy="409631"/>
          </a:xfrm>
        </p:spPr>
        <p:txBody>
          <a:bodyPr lIns="36000" anchor="t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sp>
        <p:nvSpPr>
          <p:cNvPr id="71" name="Plassholder for bilde 3">
            <a:extLst>
              <a:ext uri="{FF2B5EF4-FFF2-40B4-BE49-F238E27FC236}">
                <a16:creationId xmlns:a16="http://schemas.microsoft.com/office/drawing/2014/main" id="{DA785CE2-C206-ECBA-0B96-6D64B0B6AD93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9901702" y="4522509"/>
            <a:ext cx="1800000" cy="129600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73D00FF7-08FD-3BCF-44E6-DAF1D1744D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3479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258FC050-7E51-2A5D-948A-940177B9C789}"/>
              </a:ext>
            </a:extLst>
          </p:cNvPr>
          <p:cNvSpPr/>
          <p:nvPr userDrawn="1"/>
        </p:nvSpPr>
        <p:spPr>
          <a:xfrm>
            <a:off x="479426" y="482599"/>
            <a:ext cx="11233150" cy="5934075"/>
          </a:xfrm>
          <a:prstGeom prst="rect">
            <a:avLst/>
          </a:prstGeom>
          <a:solidFill>
            <a:schemeClr val="accent5"/>
          </a:solidFill>
          <a:ln>
            <a:solidFill>
              <a:schemeClr val="accent6">
                <a:alpha val="2509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Plassholder for tekst 13">
            <a:extLst>
              <a:ext uri="{FF2B5EF4-FFF2-40B4-BE49-F238E27FC236}">
                <a16:creationId xmlns:a16="http://schemas.microsoft.com/office/drawing/2014/main" id="{A39772DB-26B9-2955-AD1D-5E564CA04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897205" y="2221148"/>
            <a:ext cx="7122694" cy="702643"/>
          </a:xfrm>
        </p:spPr>
        <p:txBody>
          <a:bodyPr lIns="36000" anchor="t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44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No./text</a:t>
            </a:r>
          </a:p>
        </p:txBody>
      </p:sp>
      <p:sp>
        <p:nvSpPr>
          <p:cNvPr id="13" name="Plassholder for innhold 2">
            <a:extLst>
              <a:ext uri="{FF2B5EF4-FFF2-40B4-BE49-F238E27FC236}">
                <a16:creationId xmlns:a16="http://schemas.microsoft.com/office/drawing/2014/main" id="{99F6EE6E-2560-31D5-9B3F-CB370B4BB70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897205" y="3974668"/>
            <a:ext cx="7113070" cy="1810115"/>
          </a:xfrm>
        </p:spPr>
        <p:txBody>
          <a:bodyPr lIns="0">
            <a:norm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B01F8C85-67F8-7440-81CA-34AD55B881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96754" y="3005137"/>
            <a:ext cx="7113520" cy="847725"/>
          </a:xfrm>
        </p:spPr>
        <p:txBody>
          <a:bodyPr l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Name of chapter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EA66E6BA-48D3-589F-F35C-59071FF2505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3C1AA2F2-8788-E5DE-2114-E4F0C674B862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C8CA85F1-D80F-A460-6F19-EA8DBEA9DA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8476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258FC050-7E51-2A5D-948A-940177B9C789}"/>
              </a:ext>
            </a:extLst>
          </p:cNvPr>
          <p:cNvSpPr/>
          <p:nvPr userDrawn="1"/>
        </p:nvSpPr>
        <p:spPr>
          <a:xfrm>
            <a:off x="479426" y="482599"/>
            <a:ext cx="11233150" cy="5934075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alpha val="25098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8" name="Bilde 7" descr="Et bilde som inneholder Font, logo, Grafikk, design&#10;&#10;Automatisk generert beskrivelse">
            <a:extLst>
              <a:ext uri="{FF2B5EF4-FFF2-40B4-BE49-F238E27FC236}">
                <a16:creationId xmlns:a16="http://schemas.microsoft.com/office/drawing/2014/main" id="{A11E623A-13C6-5E80-4A73-C64D729265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4" y="1"/>
            <a:ext cx="684000" cy="854421"/>
          </a:xfrm>
          <a:prstGeom prst="rect">
            <a:avLst/>
          </a:prstGeom>
        </p:spPr>
      </p:pic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3A9355BB-C14B-1A43-3E86-DCABED08ADD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72151" y="2941766"/>
            <a:ext cx="7113520" cy="1747932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Click and insert quote</a:t>
            </a:r>
          </a:p>
        </p:txBody>
      </p:sp>
      <p:pic>
        <p:nvPicPr>
          <p:cNvPr id="14" name="Bilde 13" descr="Et bilde som inneholder Grafikk, appelsin&#10;&#10;Automatisk generert beskrivelse">
            <a:extLst>
              <a:ext uri="{FF2B5EF4-FFF2-40B4-BE49-F238E27FC236}">
                <a16:creationId xmlns:a16="http://schemas.microsoft.com/office/drawing/2014/main" id="{25F1DB2E-84E0-7562-93B8-F799C2FB2F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4363" y="2246979"/>
            <a:ext cx="828000" cy="430384"/>
          </a:xfrm>
          <a:prstGeom prst="rect">
            <a:avLst/>
          </a:prstGeom>
        </p:spPr>
      </p:pic>
      <p:sp>
        <p:nvSpPr>
          <p:cNvPr id="15" name="TekstSylinder 14">
            <a:extLst>
              <a:ext uri="{FF2B5EF4-FFF2-40B4-BE49-F238E27FC236}">
                <a16:creationId xmlns:a16="http://schemas.microsoft.com/office/drawing/2014/main" id="{441DAD10-6B3F-6A4D-25D9-F601C50787D1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229644EC-B3EA-F654-72EA-B12F1308173C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2172CF3E-162A-8F38-6C0A-371CDB97D38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6282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optional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09D60B6-D8AE-AA91-0BAE-9BB534AECA15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9884BA4-DF88-2AFA-3933-CD896ED4B053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16F67ADB-132A-D962-940E-D034871DBDD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618488" y="1636776"/>
            <a:ext cx="2578608" cy="3593592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5" name="Plassholder for bilde 3">
            <a:extLst>
              <a:ext uri="{FF2B5EF4-FFF2-40B4-BE49-F238E27FC236}">
                <a16:creationId xmlns:a16="http://schemas.microsoft.com/office/drawing/2014/main" id="{DFF356FF-DFAA-A91D-ECE3-92280D211F4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507992" y="1199112"/>
            <a:ext cx="3182112" cy="4451880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6" name="Plassholder for bilde 3">
            <a:extLst>
              <a:ext uri="{FF2B5EF4-FFF2-40B4-BE49-F238E27FC236}">
                <a16:creationId xmlns:a16="http://schemas.microsoft.com/office/drawing/2014/main" id="{0CD7B42B-2578-C205-4851-DAC66E093EA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979664" y="1632204"/>
            <a:ext cx="2578608" cy="3593592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0CBE6D4D-4A93-BF02-F253-50888DCE0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8956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photoes, narrow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6F05195A-FF93-DB05-C7DB-7218D9135F5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8748713" cy="6858000"/>
          </a:xfrm>
          <a:custGeom>
            <a:avLst/>
            <a:gdLst>
              <a:gd name="connsiteX0" fmla="*/ 479424 w 8748713"/>
              <a:gd name="connsiteY0" fmla="*/ 1 h 6858000"/>
              <a:gd name="connsiteX1" fmla="*/ 479424 w 8748713"/>
              <a:gd name="connsiteY1" fmla="*/ 854422 h 6858000"/>
              <a:gd name="connsiteX2" fmla="*/ 1163424 w 8748713"/>
              <a:gd name="connsiteY2" fmla="*/ 854422 h 6858000"/>
              <a:gd name="connsiteX3" fmla="*/ 1163424 w 8748713"/>
              <a:gd name="connsiteY3" fmla="*/ 1 h 6858000"/>
              <a:gd name="connsiteX4" fmla="*/ 0 w 8748713"/>
              <a:gd name="connsiteY4" fmla="*/ 0 h 6858000"/>
              <a:gd name="connsiteX5" fmla="*/ 8748713 w 8748713"/>
              <a:gd name="connsiteY5" fmla="*/ 0 h 6858000"/>
              <a:gd name="connsiteX6" fmla="*/ 8748713 w 8748713"/>
              <a:gd name="connsiteY6" fmla="*/ 6858000 h 6858000"/>
              <a:gd name="connsiteX7" fmla="*/ 0 w 8748713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748713" h="6858000">
                <a:moveTo>
                  <a:pt x="479424" y="1"/>
                </a:moveTo>
                <a:lnTo>
                  <a:pt x="479424" y="854422"/>
                </a:lnTo>
                <a:lnTo>
                  <a:pt x="1163424" y="854422"/>
                </a:lnTo>
                <a:lnTo>
                  <a:pt x="1163424" y="1"/>
                </a:lnTo>
                <a:close/>
                <a:moveTo>
                  <a:pt x="0" y="0"/>
                </a:moveTo>
                <a:lnTo>
                  <a:pt x="8748713" y="0"/>
                </a:lnTo>
                <a:lnTo>
                  <a:pt x="87487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Insert photo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946376" y="736979"/>
            <a:ext cx="2766199" cy="1215646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3 lines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6BB8E25F-DF05-1244-7A51-01CFFD7BAB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939283" y="2312988"/>
            <a:ext cx="2773291" cy="1085306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 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41A79B7-D708-A272-FE08-33F5010539DB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E471B7B-87D4-F718-D4C8-6389CEECECAC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6" name="Plassholder for diagram 23">
            <a:extLst>
              <a:ext uri="{FF2B5EF4-FFF2-40B4-BE49-F238E27FC236}">
                <a16:creationId xmlns:a16="http://schemas.microsoft.com/office/drawing/2014/main" id="{1A726AD4-5C91-2A7E-55CB-087472578529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8939284" y="3411940"/>
            <a:ext cx="2773291" cy="3004736"/>
          </a:xfrm>
        </p:spPr>
        <p:txBody>
          <a:bodyPr lIns="0"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diagram</a:t>
            </a:r>
            <a:endParaRPr lang="nb-NO" dirty="0"/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5EF3B978-7393-9C33-189A-C821CEC2C1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2444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3 optional photoes and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vrundet rektangel 7">
            <a:extLst>
              <a:ext uri="{FF2B5EF4-FFF2-40B4-BE49-F238E27FC236}">
                <a16:creationId xmlns:a16="http://schemas.microsoft.com/office/drawing/2014/main" id="{9B21C2D4-AD39-CDB9-EB57-1053D9E21BDB}"/>
              </a:ext>
            </a:extLst>
          </p:cNvPr>
          <p:cNvSpPr/>
          <p:nvPr userDrawn="1"/>
        </p:nvSpPr>
        <p:spPr>
          <a:xfrm>
            <a:off x="1602464" y="4102609"/>
            <a:ext cx="3492027" cy="2037030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27" y="1059835"/>
            <a:ext cx="4035553" cy="894080"/>
          </a:xfrm>
        </p:spPr>
        <p:txBody>
          <a:bodyPr lIns="0" anchor="b">
            <a:normAutofit/>
          </a:bodyPr>
          <a:lstStyle>
            <a:lvl1pPr>
              <a:defRPr sz="2400" b="1"/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6BB8E25F-DF05-1244-7A51-01CFFD7BAB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3616" y="2324329"/>
            <a:ext cx="4049756" cy="1500391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 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41A79B7-D708-A272-FE08-33F5010539DB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E471B7B-87D4-F718-D4C8-6389CEECECAC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5" name="Plassholder for bilde 3">
            <a:extLst>
              <a:ext uri="{FF2B5EF4-FFF2-40B4-BE49-F238E27FC236}">
                <a16:creationId xmlns:a16="http://schemas.microsoft.com/office/drawing/2014/main" id="{3DA5B0E5-3A63-B8C6-161F-FC241C7297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06695" y="540431"/>
            <a:ext cx="2571879" cy="2770632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Insert photo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152EB98B-3B4B-28B3-A33A-FFCEB08ECBD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20085" y="4644773"/>
            <a:ext cx="3286481" cy="1362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25C092DF-6AD2-3E0B-031C-B3514B2BE0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2143" y="4273449"/>
            <a:ext cx="3286481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C61CB2FA-489A-329A-D0A6-078737BDD80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810060" y="3653312"/>
            <a:ext cx="2571879" cy="2770632"/>
          </a:xfrm>
          <a:custGeom>
            <a:avLst/>
            <a:gdLst>
              <a:gd name="connsiteX0" fmla="*/ 341700 w 2571879"/>
              <a:gd name="connsiteY0" fmla="*/ 0 h 2770632"/>
              <a:gd name="connsiteX1" fmla="*/ 2230179 w 2571879"/>
              <a:gd name="connsiteY1" fmla="*/ 0 h 2770632"/>
              <a:gd name="connsiteX2" fmla="*/ 2571879 w 2571879"/>
              <a:gd name="connsiteY2" fmla="*/ 341700 h 2770632"/>
              <a:gd name="connsiteX3" fmla="*/ 2571879 w 2571879"/>
              <a:gd name="connsiteY3" fmla="*/ 2428932 h 2770632"/>
              <a:gd name="connsiteX4" fmla="*/ 2230179 w 2571879"/>
              <a:gd name="connsiteY4" fmla="*/ 2770632 h 2770632"/>
              <a:gd name="connsiteX5" fmla="*/ 341700 w 2571879"/>
              <a:gd name="connsiteY5" fmla="*/ 2770632 h 2770632"/>
              <a:gd name="connsiteX6" fmla="*/ 26853 w 2571879"/>
              <a:gd name="connsiteY6" fmla="*/ 2561937 h 2770632"/>
              <a:gd name="connsiteX7" fmla="*/ 11588 w 2571879"/>
              <a:gd name="connsiteY7" fmla="*/ 2486327 h 2770632"/>
              <a:gd name="connsiteX8" fmla="*/ 65328 w 2571879"/>
              <a:gd name="connsiteY8" fmla="*/ 2486327 h 2770632"/>
              <a:gd name="connsiteX9" fmla="*/ 284431 w 2571879"/>
              <a:gd name="connsiteY9" fmla="*/ 2267224 h 2770632"/>
              <a:gd name="connsiteX10" fmla="*/ 284431 w 2571879"/>
              <a:gd name="connsiteY10" fmla="*/ 668400 h 2770632"/>
              <a:gd name="connsiteX11" fmla="*/ 65328 w 2571879"/>
              <a:gd name="connsiteY11" fmla="*/ 449297 h 2770632"/>
              <a:gd name="connsiteX12" fmla="*/ 0 w 2571879"/>
              <a:gd name="connsiteY12" fmla="*/ 449297 h 2770632"/>
              <a:gd name="connsiteX13" fmla="*/ 0 w 2571879"/>
              <a:gd name="connsiteY13" fmla="*/ 341700 h 2770632"/>
              <a:gd name="connsiteX14" fmla="*/ 341700 w 2571879"/>
              <a:gd name="connsiteY14" fmla="*/ 0 h 277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71879" h="2770632">
                <a:moveTo>
                  <a:pt x="341700" y="0"/>
                </a:moveTo>
                <a:lnTo>
                  <a:pt x="2230179" y="0"/>
                </a:lnTo>
                <a:cubicBezTo>
                  <a:pt x="2418895" y="0"/>
                  <a:pt x="2571879" y="152984"/>
                  <a:pt x="2571879" y="341700"/>
                </a:cubicBezTo>
                <a:lnTo>
                  <a:pt x="2571879" y="2428932"/>
                </a:lnTo>
                <a:cubicBezTo>
                  <a:pt x="2571879" y="2617648"/>
                  <a:pt x="2418895" y="2770632"/>
                  <a:pt x="2230179" y="2770632"/>
                </a:cubicBezTo>
                <a:lnTo>
                  <a:pt x="341700" y="2770632"/>
                </a:lnTo>
                <a:cubicBezTo>
                  <a:pt x="200163" y="2770632"/>
                  <a:pt x="78726" y="2684579"/>
                  <a:pt x="26853" y="2561937"/>
                </a:cubicBezTo>
                <a:lnTo>
                  <a:pt x="11588" y="2486327"/>
                </a:lnTo>
                <a:lnTo>
                  <a:pt x="65328" y="2486327"/>
                </a:lnTo>
                <a:cubicBezTo>
                  <a:pt x="186335" y="2486327"/>
                  <a:pt x="284431" y="2388231"/>
                  <a:pt x="284431" y="2267224"/>
                </a:cubicBezTo>
                <a:lnTo>
                  <a:pt x="284431" y="668400"/>
                </a:lnTo>
                <a:cubicBezTo>
                  <a:pt x="284431" y="547393"/>
                  <a:pt x="186335" y="449297"/>
                  <a:pt x="65328" y="449297"/>
                </a:cubicBezTo>
                <a:lnTo>
                  <a:pt x="0" y="449297"/>
                </a:lnTo>
                <a:lnTo>
                  <a:pt x="0" y="341700"/>
                </a:lnTo>
                <a:cubicBezTo>
                  <a:pt x="0" y="152984"/>
                  <a:pt x="152984" y="0"/>
                  <a:pt x="341700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1600"/>
            </a:lvl1pPr>
          </a:lstStyle>
          <a:p>
            <a:br>
              <a:rPr lang="en-GB" noProof="0" dirty="0"/>
            </a:br>
            <a:r>
              <a:rPr lang="en-GB" noProof="0" dirty="0"/>
              <a:t>Insert photo</a:t>
            </a:r>
          </a:p>
        </p:txBody>
      </p:sp>
      <p:sp>
        <p:nvSpPr>
          <p:cNvPr id="6" name="Plassholder for bilde 3">
            <a:extLst>
              <a:ext uri="{FF2B5EF4-FFF2-40B4-BE49-F238E27FC236}">
                <a16:creationId xmlns:a16="http://schemas.microsoft.com/office/drawing/2014/main" id="{6723197B-D5F2-213A-1324-A0A9B206A9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684188" y="511761"/>
            <a:ext cx="4028387" cy="5908533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Insert photo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9209209A-E4E9-8129-E390-87DAFF0D0D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51959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, 3 optional photoes and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vrundet rektangel 7">
            <a:extLst>
              <a:ext uri="{FF2B5EF4-FFF2-40B4-BE49-F238E27FC236}">
                <a16:creationId xmlns:a16="http://schemas.microsoft.com/office/drawing/2014/main" id="{9B21C2D4-AD39-CDB9-EB57-1053D9E21BDB}"/>
              </a:ext>
            </a:extLst>
          </p:cNvPr>
          <p:cNvSpPr/>
          <p:nvPr userDrawn="1"/>
        </p:nvSpPr>
        <p:spPr>
          <a:xfrm>
            <a:off x="1602464" y="4102609"/>
            <a:ext cx="3492027" cy="2037030"/>
          </a:xfrm>
          <a:prstGeom prst="roundRect">
            <a:avLst>
              <a:gd name="adj" fmla="val 10756"/>
            </a:avLst>
          </a:prstGeom>
          <a:solidFill>
            <a:schemeClr val="accent5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27" y="1059835"/>
            <a:ext cx="4035553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6BB8E25F-DF05-1244-7A51-01CFFD7BAB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3616" y="2324329"/>
            <a:ext cx="4049756" cy="1500391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 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41A79B7-D708-A272-FE08-33F5010539DB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E471B7B-87D4-F718-D4C8-6389CEECECAC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5" name="Plassholder for bilde 3">
            <a:extLst>
              <a:ext uri="{FF2B5EF4-FFF2-40B4-BE49-F238E27FC236}">
                <a16:creationId xmlns:a16="http://schemas.microsoft.com/office/drawing/2014/main" id="{3DA5B0E5-3A63-B8C6-161F-FC241C7297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806695" y="540431"/>
            <a:ext cx="2571879" cy="2770632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Insert photo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152EB98B-3B4B-28B3-A33A-FFCEB08ECBD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20085" y="4644773"/>
            <a:ext cx="3286481" cy="1362952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25C092DF-6AD2-3E0B-031C-B3514B2BE0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22143" y="4273449"/>
            <a:ext cx="3286481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C61CB2FA-489A-329A-D0A6-078737BDD80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4810060" y="3653312"/>
            <a:ext cx="2571879" cy="2770632"/>
          </a:xfrm>
          <a:custGeom>
            <a:avLst/>
            <a:gdLst>
              <a:gd name="connsiteX0" fmla="*/ 341700 w 2571879"/>
              <a:gd name="connsiteY0" fmla="*/ 0 h 2770632"/>
              <a:gd name="connsiteX1" fmla="*/ 2230179 w 2571879"/>
              <a:gd name="connsiteY1" fmla="*/ 0 h 2770632"/>
              <a:gd name="connsiteX2" fmla="*/ 2571879 w 2571879"/>
              <a:gd name="connsiteY2" fmla="*/ 341700 h 2770632"/>
              <a:gd name="connsiteX3" fmla="*/ 2571879 w 2571879"/>
              <a:gd name="connsiteY3" fmla="*/ 2428932 h 2770632"/>
              <a:gd name="connsiteX4" fmla="*/ 2230179 w 2571879"/>
              <a:gd name="connsiteY4" fmla="*/ 2770632 h 2770632"/>
              <a:gd name="connsiteX5" fmla="*/ 341700 w 2571879"/>
              <a:gd name="connsiteY5" fmla="*/ 2770632 h 2770632"/>
              <a:gd name="connsiteX6" fmla="*/ 26853 w 2571879"/>
              <a:gd name="connsiteY6" fmla="*/ 2561937 h 2770632"/>
              <a:gd name="connsiteX7" fmla="*/ 11588 w 2571879"/>
              <a:gd name="connsiteY7" fmla="*/ 2486327 h 2770632"/>
              <a:gd name="connsiteX8" fmla="*/ 65328 w 2571879"/>
              <a:gd name="connsiteY8" fmla="*/ 2486327 h 2770632"/>
              <a:gd name="connsiteX9" fmla="*/ 284431 w 2571879"/>
              <a:gd name="connsiteY9" fmla="*/ 2267224 h 2770632"/>
              <a:gd name="connsiteX10" fmla="*/ 284431 w 2571879"/>
              <a:gd name="connsiteY10" fmla="*/ 668400 h 2770632"/>
              <a:gd name="connsiteX11" fmla="*/ 65328 w 2571879"/>
              <a:gd name="connsiteY11" fmla="*/ 449297 h 2770632"/>
              <a:gd name="connsiteX12" fmla="*/ 0 w 2571879"/>
              <a:gd name="connsiteY12" fmla="*/ 449297 h 2770632"/>
              <a:gd name="connsiteX13" fmla="*/ 0 w 2571879"/>
              <a:gd name="connsiteY13" fmla="*/ 341700 h 2770632"/>
              <a:gd name="connsiteX14" fmla="*/ 341700 w 2571879"/>
              <a:gd name="connsiteY14" fmla="*/ 0 h 2770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571879" h="2770632">
                <a:moveTo>
                  <a:pt x="341700" y="0"/>
                </a:moveTo>
                <a:lnTo>
                  <a:pt x="2230179" y="0"/>
                </a:lnTo>
                <a:cubicBezTo>
                  <a:pt x="2418895" y="0"/>
                  <a:pt x="2571879" y="152984"/>
                  <a:pt x="2571879" y="341700"/>
                </a:cubicBezTo>
                <a:lnTo>
                  <a:pt x="2571879" y="2428932"/>
                </a:lnTo>
                <a:cubicBezTo>
                  <a:pt x="2571879" y="2617648"/>
                  <a:pt x="2418895" y="2770632"/>
                  <a:pt x="2230179" y="2770632"/>
                </a:cubicBezTo>
                <a:lnTo>
                  <a:pt x="341700" y="2770632"/>
                </a:lnTo>
                <a:cubicBezTo>
                  <a:pt x="200163" y="2770632"/>
                  <a:pt x="78726" y="2684579"/>
                  <a:pt x="26853" y="2561937"/>
                </a:cubicBezTo>
                <a:lnTo>
                  <a:pt x="11588" y="2486327"/>
                </a:lnTo>
                <a:lnTo>
                  <a:pt x="65328" y="2486327"/>
                </a:lnTo>
                <a:cubicBezTo>
                  <a:pt x="186335" y="2486327"/>
                  <a:pt x="284431" y="2388231"/>
                  <a:pt x="284431" y="2267224"/>
                </a:cubicBezTo>
                <a:lnTo>
                  <a:pt x="284431" y="668400"/>
                </a:lnTo>
                <a:cubicBezTo>
                  <a:pt x="284431" y="547393"/>
                  <a:pt x="186335" y="449297"/>
                  <a:pt x="65328" y="449297"/>
                </a:cubicBezTo>
                <a:lnTo>
                  <a:pt x="0" y="449297"/>
                </a:lnTo>
                <a:lnTo>
                  <a:pt x="0" y="341700"/>
                </a:lnTo>
                <a:cubicBezTo>
                  <a:pt x="0" y="152984"/>
                  <a:pt x="152984" y="0"/>
                  <a:pt x="341700" y="0"/>
                </a:cubicBez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 marL="0" indent="0" algn="ctr">
              <a:buNone/>
              <a:defRPr sz="1600"/>
            </a:lvl1pPr>
          </a:lstStyle>
          <a:p>
            <a:br>
              <a:rPr lang="en-GB" noProof="0" dirty="0"/>
            </a:br>
            <a:r>
              <a:rPr lang="en-GB" noProof="0" dirty="0"/>
              <a:t>Insert photo</a:t>
            </a:r>
          </a:p>
        </p:txBody>
      </p:sp>
      <p:sp>
        <p:nvSpPr>
          <p:cNvPr id="6" name="Plassholder for bilde 3">
            <a:extLst>
              <a:ext uri="{FF2B5EF4-FFF2-40B4-BE49-F238E27FC236}">
                <a16:creationId xmlns:a16="http://schemas.microsoft.com/office/drawing/2014/main" id="{6723197B-D5F2-213A-1324-A0A9B206A93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684188" y="511761"/>
            <a:ext cx="4028387" cy="5908533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Insert photo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9209209A-E4E9-8129-E390-87DAFF0D0D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338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3 optional photo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5DEE62C-3BB0-5414-8293-9C17EB8017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27" y="1240324"/>
            <a:ext cx="2723253" cy="712301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6BB8E25F-DF05-1244-7A51-01CFFD7BAB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3616" y="2312988"/>
            <a:ext cx="2732837" cy="4042092"/>
          </a:xfrm>
        </p:spPr>
        <p:txBody>
          <a:bodyPr lIns="0">
            <a:normAutofit/>
          </a:bodyPr>
          <a:lstStyle>
            <a:lvl1pPr marL="0" indent="0">
              <a:buNone/>
              <a:defRPr sz="1600"/>
            </a:lvl1pPr>
            <a:lvl2pPr marL="260350" indent="0">
              <a:buFont typeface="Systemfont normal"/>
              <a:buNone/>
              <a:tabLst/>
              <a:defRPr sz="1600"/>
            </a:lvl2pPr>
            <a:lvl3pPr marL="447675" indent="0">
              <a:buFont typeface="Systemfont normal"/>
              <a:buNone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  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41A79B7-D708-A272-FE08-33F5010539DB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E471B7B-87D4-F718-D4C8-6389CEECECAC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15" name="Plassholder for bilde 3">
            <a:extLst>
              <a:ext uri="{FF2B5EF4-FFF2-40B4-BE49-F238E27FC236}">
                <a16:creationId xmlns:a16="http://schemas.microsoft.com/office/drawing/2014/main" id="{3DA5B0E5-3A63-B8C6-161F-FC241C72977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358836" y="1525871"/>
            <a:ext cx="2589292" cy="2131729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152EB98B-3B4B-28B3-A33A-FFCEB08ECBD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31601" y="4190711"/>
            <a:ext cx="2598419" cy="222746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4" name="Plassholder for tekst 13">
            <a:extLst>
              <a:ext uri="{FF2B5EF4-FFF2-40B4-BE49-F238E27FC236}">
                <a16:creationId xmlns:a16="http://schemas.microsoft.com/office/drawing/2014/main" id="{25C092DF-6AD2-3E0B-031C-B3514B2BE0F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33659" y="3819388"/>
            <a:ext cx="2598419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6" name="Plassholder for bilde 3">
            <a:extLst>
              <a:ext uri="{FF2B5EF4-FFF2-40B4-BE49-F238E27FC236}">
                <a16:creationId xmlns:a16="http://schemas.microsoft.com/office/drawing/2014/main" id="{E34B0725-37C1-2F1E-218C-846FDB0FE19F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5382" y="1533416"/>
            <a:ext cx="2589292" cy="2131729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7" name="Plassholder for bilde 3">
            <a:extLst>
              <a:ext uri="{FF2B5EF4-FFF2-40B4-BE49-F238E27FC236}">
                <a16:creationId xmlns:a16="http://schemas.microsoft.com/office/drawing/2014/main" id="{05B65A62-906F-5409-17B3-938E53431480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132336" y="1524364"/>
            <a:ext cx="2589292" cy="2131729"/>
          </a:xfrm>
          <a:prstGeom prst="roundRect">
            <a:avLst>
              <a:gd name="adj" fmla="val 13286"/>
            </a:avLst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Insert photo</a:t>
            </a:r>
          </a:p>
        </p:txBody>
      </p:sp>
      <p:sp>
        <p:nvSpPr>
          <p:cNvPr id="8" name="Plassholder for tekst 15">
            <a:extLst>
              <a:ext uri="{FF2B5EF4-FFF2-40B4-BE49-F238E27FC236}">
                <a16:creationId xmlns:a16="http://schemas.microsoft.com/office/drawing/2014/main" id="{956A0473-71BC-F668-BED0-D8F1B594403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27201" y="4189202"/>
            <a:ext cx="2598419" cy="222746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1947B800-9BE6-5752-5A67-8006A3011C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29259" y="3817879"/>
            <a:ext cx="2598419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375B1755-66AF-1E6E-EC68-80C63225D53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115256" y="4189208"/>
            <a:ext cx="2598419" cy="222746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B3327D43-70A0-AB8C-E337-89147D71ED2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117314" y="3817885"/>
            <a:ext cx="2598419" cy="360920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F8B92B3A-F457-ED02-39C6-9661317E53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4061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5 with transparent bann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ssholder for bilde 5">
            <a:extLst>
              <a:ext uri="{FF2B5EF4-FFF2-40B4-BE49-F238E27FC236}">
                <a16:creationId xmlns:a16="http://schemas.microsoft.com/office/drawing/2014/main" id="{660828B7-EA93-9FF0-FF59-B3EE701A0B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8323" cy="6880195"/>
          </a:xfrm>
          <a:prstGeom prst="rect">
            <a:avLst/>
          </a:prstGeom>
        </p:spPr>
      </p:pic>
      <p:sp>
        <p:nvSpPr>
          <p:cNvPr id="11" name="Rektangel 10">
            <a:extLst>
              <a:ext uri="{FF2B5EF4-FFF2-40B4-BE49-F238E27FC236}">
                <a16:creationId xmlns:a16="http://schemas.microsoft.com/office/drawing/2014/main" id="{61CD1E78-B3FD-9ADC-2DC3-B7DD72EA3966}"/>
              </a:ext>
            </a:extLst>
          </p:cNvPr>
          <p:cNvSpPr/>
          <p:nvPr userDrawn="1"/>
        </p:nvSpPr>
        <p:spPr>
          <a:xfrm>
            <a:off x="7369521" y="1"/>
            <a:ext cx="3204927" cy="6857999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9" name="Plassholder for tekst 15">
            <a:extLst>
              <a:ext uri="{FF2B5EF4-FFF2-40B4-BE49-F238E27FC236}">
                <a16:creationId xmlns:a16="http://schemas.microsoft.com/office/drawing/2014/main" id="{342A216D-9105-2DA7-8203-D8F5396BC09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59158" y="1952625"/>
            <a:ext cx="2598419" cy="4464050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10" name="Plassholder for tekst 13">
            <a:extLst>
              <a:ext uri="{FF2B5EF4-FFF2-40B4-BE49-F238E27FC236}">
                <a16:creationId xmlns:a16="http://schemas.microsoft.com/office/drawing/2014/main" id="{4D0231CE-A3C7-1D9E-6780-7282E07F71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61216" y="1242644"/>
            <a:ext cx="2598419" cy="712906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/>
              <a:t>Insert heading 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86C0C900-A7F8-1090-D4E2-F8C75F4FA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692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,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69166"/>
            <a:ext cx="11233150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4F14524-7A4C-0F09-FB52-C19289A08D96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034CE4B-1EAF-5C7E-0185-EFB5EAB46D4B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EE4B26E2-4FC1-3107-E2B2-6E4576D8C90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3" y="2312987"/>
            <a:ext cx="3661104" cy="4103687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CAD8CFFB-E6B3-1DA0-EDA4-403C263D3D87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68216" y="2312988"/>
            <a:ext cx="3661104" cy="4103687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C89132D3-543C-853D-5059-5332221FB1C6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051471" y="2312988"/>
            <a:ext cx="3661104" cy="4103687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pic>
        <p:nvPicPr>
          <p:cNvPr id="3" name="Bilde 2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CB92056B-4083-918A-5007-2E2948A4F5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7495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photo with transparent bann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9A206D55-8A8A-F0D8-FD47-CB39B1B3155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79424 w 12192000"/>
              <a:gd name="connsiteY0" fmla="*/ 1 h 6858000"/>
              <a:gd name="connsiteX1" fmla="*/ 479424 w 12192000"/>
              <a:gd name="connsiteY1" fmla="*/ 854422 h 6858000"/>
              <a:gd name="connsiteX2" fmla="*/ 1163424 w 12192000"/>
              <a:gd name="connsiteY2" fmla="*/ 854422 h 6858000"/>
              <a:gd name="connsiteX3" fmla="*/ 1163424 w 12192000"/>
              <a:gd name="connsiteY3" fmla="*/ 1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79424" y="1"/>
                </a:moveTo>
                <a:lnTo>
                  <a:pt x="479424" y="854422"/>
                </a:lnTo>
                <a:lnTo>
                  <a:pt x="1163424" y="854422"/>
                </a:lnTo>
                <a:lnTo>
                  <a:pt x="1163424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 dirty="0"/>
              <a:t>Click and insert photo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CFBED945-5B57-0F82-FD29-1412FD67A3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5490" y="0"/>
            <a:ext cx="3205872" cy="2090057"/>
          </a:xfrm>
          <a:solidFill>
            <a:srgbClr val="FFFFFF">
              <a:alpha val="50196"/>
            </a:srgbClr>
          </a:solidFill>
          <a:ln>
            <a:noFill/>
          </a:ln>
        </p:spPr>
        <p:txBody>
          <a:bodyPr lIns="251999" tIns="1584000" rIns="251999" bIns="180000" rtlCol="0" anchor="b">
            <a:noAutofit/>
          </a:bodyPr>
          <a:lstStyle>
            <a:lvl1pPr marL="222250" indent="0" algn="l">
              <a:buNone/>
              <a:tabLst/>
              <a:defRPr sz="1600" b="1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66700" indent="0" algn="r">
              <a:buNone/>
              <a:defRPr sz="1800">
                <a:solidFill>
                  <a:schemeClr val="bg1"/>
                </a:solidFill>
              </a:defRPr>
            </a:lvl2pPr>
            <a:lvl3pPr marL="542925" indent="0" algn="r">
              <a:buNone/>
              <a:defRPr sz="1800">
                <a:solidFill>
                  <a:schemeClr val="bg1"/>
                </a:solidFill>
              </a:defRPr>
            </a:lvl3pPr>
            <a:lvl4pPr marL="809625" indent="0" algn="r">
              <a:buNone/>
              <a:defRPr sz="1800">
                <a:solidFill>
                  <a:schemeClr val="bg1"/>
                </a:solidFill>
              </a:defRPr>
            </a:lvl4pPr>
            <a:lvl5pPr marL="1076325" indent="0" algn="r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 noProof="0" dirty="0"/>
              <a:t>Insert heading</a:t>
            </a:r>
          </a:p>
        </p:txBody>
      </p:sp>
      <p:sp>
        <p:nvSpPr>
          <p:cNvPr id="9" name="Undertittel 2">
            <a:extLst>
              <a:ext uri="{FF2B5EF4-FFF2-40B4-BE49-F238E27FC236}">
                <a16:creationId xmlns:a16="http://schemas.microsoft.com/office/drawing/2014/main" id="{61E976FF-7736-F7C9-39B6-78697C1DEE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72556" y="2089356"/>
            <a:ext cx="3205872" cy="4768644"/>
          </a:xfrm>
          <a:solidFill>
            <a:srgbClr val="FFFFFF">
              <a:alpha val="50196"/>
            </a:srgbClr>
          </a:solidFill>
          <a:ln>
            <a:noFill/>
          </a:ln>
        </p:spPr>
        <p:txBody>
          <a:bodyPr lIns="251999" tIns="36000" rIns="251999" bIns="180000" rtlCol="0" anchor="t">
            <a:noAutofit/>
          </a:bodyPr>
          <a:lstStyle>
            <a:lvl1pPr marL="222250" indent="0" algn="l">
              <a:buNone/>
              <a:tabLst/>
              <a:defRPr sz="1600" b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66700" indent="0" algn="r">
              <a:buNone/>
              <a:defRPr sz="1800">
                <a:solidFill>
                  <a:schemeClr val="bg1"/>
                </a:solidFill>
              </a:defRPr>
            </a:lvl2pPr>
            <a:lvl3pPr marL="542925" indent="0" algn="r">
              <a:buNone/>
              <a:defRPr sz="1800">
                <a:solidFill>
                  <a:schemeClr val="bg1"/>
                </a:solidFill>
              </a:defRPr>
            </a:lvl3pPr>
            <a:lvl4pPr marL="809625" indent="0" algn="r">
              <a:buNone/>
              <a:defRPr sz="1800">
                <a:solidFill>
                  <a:schemeClr val="bg1"/>
                </a:solidFill>
              </a:defRPr>
            </a:lvl4pPr>
            <a:lvl5pPr marL="1076325" indent="0" algn="r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 noProof="0" dirty="0"/>
              <a:t>Insert text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6148D69E-E1C6-2DA2-BCCD-A8D22DB7A0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378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1 with transparent banne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FFF16AF1-9109-0D68-C91A-04C6C80783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02A3880D-9C97-D4FB-083F-72713BCC266C}"/>
              </a:ext>
            </a:extLst>
          </p:cNvPr>
          <p:cNvSpPr/>
          <p:nvPr userDrawn="1"/>
        </p:nvSpPr>
        <p:spPr>
          <a:xfrm>
            <a:off x="1602455" y="1"/>
            <a:ext cx="3204927" cy="6857999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51FFA635-6624-9055-22F8-7C3E77CE96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92092" y="1952625"/>
            <a:ext cx="2598419" cy="4464050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400"/>
            </a:lvl1pPr>
          </a:lstStyle>
          <a:p>
            <a:pPr lvl="0"/>
            <a:r>
              <a:rPr lang="en-GB" noProof="0"/>
              <a:t>Insert text</a:t>
            </a:r>
          </a:p>
        </p:txBody>
      </p:sp>
      <p:sp>
        <p:nvSpPr>
          <p:cNvPr id="12" name="Plassholder for tekst 13">
            <a:extLst>
              <a:ext uri="{FF2B5EF4-FFF2-40B4-BE49-F238E27FC236}">
                <a16:creationId xmlns:a16="http://schemas.microsoft.com/office/drawing/2014/main" id="{4A0A79EC-45BA-A55F-67DF-9EF5A2E7CC7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894150" y="1233591"/>
            <a:ext cx="2598419" cy="712906"/>
          </a:xfrm>
        </p:spPr>
        <p:txBody>
          <a:bodyPr lIns="36000" anchor="b">
            <a:normAutofit/>
          </a:bodyPr>
          <a:lstStyle>
            <a:lvl1pPr marL="0" indent="0"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heading 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73BF0B75-07BC-40A4-339E-E29F09E63E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922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tional photo with transparent banne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CEB1222F-DA72-28C9-8707-6DAD6A433C9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79424 w 12192000"/>
              <a:gd name="connsiteY0" fmla="*/ 1 h 6858000"/>
              <a:gd name="connsiteX1" fmla="*/ 479424 w 12192000"/>
              <a:gd name="connsiteY1" fmla="*/ 854422 h 6858000"/>
              <a:gd name="connsiteX2" fmla="*/ 1163424 w 12192000"/>
              <a:gd name="connsiteY2" fmla="*/ 854422 h 6858000"/>
              <a:gd name="connsiteX3" fmla="*/ 1163424 w 12192000"/>
              <a:gd name="connsiteY3" fmla="*/ 1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79424" y="1"/>
                </a:moveTo>
                <a:lnTo>
                  <a:pt x="479424" y="854422"/>
                </a:lnTo>
                <a:lnTo>
                  <a:pt x="1163424" y="854422"/>
                </a:lnTo>
                <a:lnTo>
                  <a:pt x="1163424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 noProof="0" dirty="0"/>
              <a:t>Click and insert photo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49433931-FD06-8881-B7D0-2834BD9BB4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90524" y="0"/>
            <a:ext cx="3205872" cy="2090057"/>
          </a:xfrm>
          <a:solidFill>
            <a:srgbClr val="FFFFFF">
              <a:alpha val="50196"/>
            </a:srgbClr>
          </a:solidFill>
          <a:ln>
            <a:noFill/>
          </a:ln>
        </p:spPr>
        <p:txBody>
          <a:bodyPr lIns="251999" tIns="1584000" rIns="251999" bIns="180000" rtlCol="0" anchor="b">
            <a:noAutofit/>
          </a:bodyPr>
          <a:lstStyle>
            <a:lvl1pPr marL="222250" indent="0" algn="l">
              <a:buNone/>
              <a:tabLst/>
              <a:defRPr sz="1600" b="1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66700" indent="0" algn="r">
              <a:buNone/>
              <a:defRPr sz="1800">
                <a:solidFill>
                  <a:schemeClr val="bg1"/>
                </a:solidFill>
              </a:defRPr>
            </a:lvl2pPr>
            <a:lvl3pPr marL="542925" indent="0" algn="r">
              <a:buNone/>
              <a:defRPr sz="1800">
                <a:solidFill>
                  <a:schemeClr val="bg1"/>
                </a:solidFill>
              </a:defRPr>
            </a:lvl3pPr>
            <a:lvl4pPr marL="809625" indent="0" algn="r">
              <a:buNone/>
              <a:defRPr sz="1800">
                <a:solidFill>
                  <a:schemeClr val="bg1"/>
                </a:solidFill>
              </a:defRPr>
            </a:lvl4pPr>
            <a:lvl5pPr marL="1076325" indent="0" algn="r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 noProof="0" dirty="0"/>
              <a:t>Insert heading</a:t>
            </a:r>
          </a:p>
        </p:txBody>
      </p:sp>
      <p:sp>
        <p:nvSpPr>
          <p:cNvPr id="7" name="Undertittel 2">
            <a:extLst>
              <a:ext uri="{FF2B5EF4-FFF2-40B4-BE49-F238E27FC236}">
                <a16:creationId xmlns:a16="http://schemas.microsoft.com/office/drawing/2014/main" id="{7DFB9DB3-7622-3FAD-6D77-C20473596DB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87590" y="2089356"/>
            <a:ext cx="3205872" cy="4768644"/>
          </a:xfrm>
          <a:solidFill>
            <a:srgbClr val="FFFFFF">
              <a:alpha val="50196"/>
            </a:srgbClr>
          </a:solidFill>
          <a:ln>
            <a:noFill/>
          </a:ln>
        </p:spPr>
        <p:txBody>
          <a:bodyPr lIns="251999" tIns="36000" rIns="251999" bIns="180000" rtlCol="0" anchor="t">
            <a:noAutofit/>
          </a:bodyPr>
          <a:lstStyle>
            <a:lvl1pPr marL="222250" indent="0" algn="l">
              <a:buNone/>
              <a:tabLst/>
              <a:defRPr sz="1600" b="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266700" indent="0" algn="r">
              <a:buNone/>
              <a:defRPr sz="1800">
                <a:solidFill>
                  <a:schemeClr val="bg1"/>
                </a:solidFill>
              </a:defRPr>
            </a:lvl2pPr>
            <a:lvl3pPr marL="542925" indent="0" algn="r">
              <a:buNone/>
              <a:defRPr sz="1800">
                <a:solidFill>
                  <a:schemeClr val="bg1"/>
                </a:solidFill>
              </a:defRPr>
            </a:lvl3pPr>
            <a:lvl4pPr marL="809625" indent="0" algn="r">
              <a:buNone/>
              <a:defRPr sz="1800">
                <a:solidFill>
                  <a:schemeClr val="bg1"/>
                </a:solidFill>
              </a:defRPr>
            </a:lvl4pPr>
            <a:lvl5pPr marL="1076325" indent="0" algn="r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 noProof="0" dirty="0"/>
              <a:t>Insert text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9CE9C47F-E0D1-F98F-1726-9E80252DF9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5031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764395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68" y="-6769"/>
            <a:ext cx="847426" cy="1059282"/>
          </a:xfrm>
          <a:prstGeom prst="rect">
            <a:avLst/>
          </a:prstGeom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86267" y="1253596"/>
            <a:ext cx="11167533" cy="4923367"/>
          </a:xfrm>
        </p:spPr>
        <p:txBody>
          <a:bodyPr>
            <a:normAutofit/>
          </a:bodyPr>
          <a:lstStyle>
            <a:lvl1pPr marL="228600" indent="-228600">
              <a:buFont typeface="Wingdings" panose="05000000000000000000" pitchFamily="2" charset="2"/>
              <a:buChar char="§"/>
              <a:defRPr sz="2000"/>
            </a:lvl1pPr>
            <a:lvl2pPr marL="685800" indent="-228600">
              <a:buFont typeface="Calibri" panose="020F0502020204030204" pitchFamily="34" charset="0"/>
              <a:buChar char="-"/>
              <a:defRPr sz="2000"/>
            </a:lvl2pPr>
            <a:lvl3pPr marL="1143000" indent="-228600">
              <a:buFont typeface="Courier New" panose="02070309020205020404" pitchFamily="49" charset="0"/>
              <a:buChar char="o"/>
              <a:defRPr sz="2000"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9" name="Rektangel 8"/>
          <p:cNvSpPr/>
          <p:nvPr userDrawn="1"/>
        </p:nvSpPr>
        <p:spPr>
          <a:xfrm>
            <a:off x="11514667" y="6316133"/>
            <a:ext cx="406400" cy="5418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9144000" y="6398685"/>
            <a:ext cx="2743200" cy="365125"/>
          </a:xfrm>
        </p:spPr>
        <p:txBody>
          <a:bodyPr/>
          <a:lstStyle>
            <a:lvl1pPr>
              <a:defRPr sz="11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2090A4A-5B1E-4543-A694-A7323E509CF8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sz="1050">
                <a:solidFill>
                  <a:srgbClr val="F3672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Twitter: @NGjenvinning</a:t>
            </a:r>
            <a:endParaRPr lang="nb-NO" dirty="0"/>
          </a:p>
        </p:txBody>
      </p:sp>
      <p:cxnSp>
        <p:nvCxnSpPr>
          <p:cNvPr id="11" name="Rett linje 10"/>
          <p:cNvCxnSpPr/>
          <p:nvPr userDrawn="1"/>
        </p:nvCxnSpPr>
        <p:spPr>
          <a:xfrm>
            <a:off x="1332695" y="1048916"/>
            <a:ext cx="10400756" cy="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tel 1"/>
          <p:cNvSpPr>
            <a:spLocks noGrp="1"/>
          </p:cNvSpPr>
          <p:nvPr>
            <p:ph type="title"/>
          </p:nvPr>
        </p:nvSpPr>
        <p:spPr>
          <a:xfrm>
            <a:off x="1296161" y="343429"/>
            <a:ext cx="10218506" cy="403755"/>
          </a:xfrm>
        </p:spPr>
        <p:txBody>
          <a:bodyPr>
            <a:noAutofit/>
          </a:bodyPr>
          <a:lstStyle>
            <a:lvl1pPr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1549902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rbeidsslide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BC9ACE9F-0D31-449F-8D8A-9DF2294550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4112"/>
            <a:ext cx="12192000" cy="6992112"/>
          </a:xfrm>
          <a:prstGeom prst="rect">
            <a:avLst/>
          </a:prstGeom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1ADCE673-7744-451C-BBAB-6C1C190FF6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4112"/>
            <a:ext cx="12192000" cy="6992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0178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77469E6-10A3-4BE2-8CAA-1AEEBDDB70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386F47-1319-4149-B559-EDEA9D8BFA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08402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page -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0DA4A993-92DB-908E-06AB-FFE18D951B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9144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479424 w 12192000"/>
              <a:gd name="connsiteY1" fmla="*/ 0 h 6858000"/>
              <a:gd name="connsiteX2" fmla="*/ 479424 w 12192000"/>
              <a:gd name="connsiteY2" fmla="*/ 1849120 h 6858000"/>
              <a:gd name="connsiteX3" fmla="*/ 1959715 w 12192000"/>
              <a:gd name="connsiteY3" fmla="*/ 1849120 h 6858000"/>
              <a:gd name="connsiteX4" fmla="*/ 1959715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479424" y="0"/>
                </a:lnTo>
                <a:lnTo>
                  <a:pt x="479424" y="1849120"/>
                </a:lnTo>
                <a:lnTo>
                  <a:pt x="1959715" y="1849120"/>
                </a:lnTo>
                <a:lnTo>
                  <a:pt x="195971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br>
              <a:rPr lang="en-GB" noProof="0" dirty="0"/>
            </a:br>
            <a:br>
              <a:rPr lang="en-GB" noProof="0" dirty="0"/>
            </a:br>
            <a:br>
              <a:rPr lang="en-GB" noProof="0" dirty="0"/>
            </a:br>
            <a:r>
              <a:rPr lang="en-GB" noProof="0" dirty="0"/>
              <a:t>Click and insert photo</a:t>
            </a:r>
          </a:p>
        </p:txBody>
      </p:sp>
      <p:sp>
        <p:nvSpPr>
          <p:cNvPr id="13" name="Tittel 1">
            <a:extLst>
              <a:ext uri="{FF2B5EF4-FFF2-40B4-BE49-F238E27FC236}">
                <a16:creationId xmlns:a16="http://schemas.microsoft.com/office/drawing/2014/main" id="{6698D2FB-6B32-3FBE-C6B9-D412AFA19E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0" y="4196080"/>
            <a:ext cx="5616575" cy="1087120"/>
          </a:xfrm>
        </p:spPr>
        <p:txBody>
          <a:bodyPr anchor="b">
            <a:normAutofit/>
          </a:bodyPr>
          <a:lstStyle>
            <a:lvl1pPr algn="l">
              <a:defRPr sz="3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and insert title – max 2 lines</a:t>
            </a:r>
          </a:p>
        </p:txBody>
      </p:sp>
      <p:sp>
        <p:nvSpPr>
          <p:cNvPr id="14" name="Undertittel 2">
            <a:extLst>
              <a:ext uri="{FF2B5EF4-FFF2-40B4-BE49-F238E27FC236}">
                <a16:creationId xmlns:a16="http://schemas.microsoft.com/office/drawing/2014/main" id="{8BE7BFFB-7C9C-42A5-7989-2AD9EA4D47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5999" y="5288598"/>
            <a:ext cx="5616576" cy="55340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and insert subheading</a:t>
            </a:r>
          </a:p>
        </p:txBody>
      </p:sp>
      <p:pic>
        <p:nvPicPr>
          <p:cNvPr id="5" name="Bilde 4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A91E9C49-4C0D-2083-114A-E1823115C0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1473064" cy="184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67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half pag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6" y="2306967"/>
            <a:ext cx="550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56466"/>
            <a:ext cx="5507489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3" y="2924175"/>
            <a:ext cx="5508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0DD0634C-7BE5-178D-32A3-252399DE5A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2626" y="0"/>
            <a:ext cx="6089374" cy="6858000"/>
          </a:xfrm>
          <a:prstGeom prst="rect">
            <a:avLst/>
          </a:prstGeom>
        </p:spPr>
      </p:pic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38FA1D8A-D10C-6499-A52D-FF44D1C473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94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half page optional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6" y="2306967"/>
            <a:ext cx="550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56466"/>
            <a:ext cx="5507489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3" y="2924175"/>
            <a:ext cx="5508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7F1A4142-D23D-9D10-5B45-5D637B05618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05625" y="0"/>
            <a:ext cx="6096000" cy="6858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Click and insert optional photo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B0069664-E7AF-6F59-B040-BBDE2E5932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007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half page optional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B35812C8-9E5A-4F59-BC85-F9FCB77817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A76DFDF-58EE-B2CE-DFE5-FFA55C433DA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796" y="2306967"/>
            <a:ext cx="5508000" cy="604086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Click and insert heading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642C15F5-E21A-B7CF-0E93-995963B94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56466"/>
            <a:ext cx="5507489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83F67208-466B-D488-BD69-CA3D71F1BF6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85383" y="2924175"/>
            <a:ext cx="5508000" cy="3484479"/>
          </a:xfrm>
        </p:spPr>
        <p:txBody>
          <a:bodyPr lIns="0">
            <a:normAutofit/>
          </a:bodyPr>
          <a:lstStyle>
            <a:lvl1pPr>
              <a:defRPr sz="1600"/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/>
              <a:t>Click and insert text – level 1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7F1A4142-D23D-9D10-5B45-5D637B05618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806043" y="966355"/>
            <a:ext cx="4478483" cy="4415030"/>
          </a:xfr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 dirty="0"/>
              <a:t>Click and insert optional photo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BFC18AE5-B34E-6560-469D-E7F662090F29}"/>
              </a:ext>
            </a:extLst>
          </p:cNvPr>
          <p:cNvSpPr txBox="1"/>
          <p:nvPr userDrawn="1"/>
        </p:nvSpPr>
        <p:spPr>
          <a:xfrm>
            <a:off x="10865180" y="6508563"/>
            <a:ext cx="580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000" dirty="0"/>
              <a:t>PAGE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74CD9AD6-A9FC-6E48-79E6-EC7D682A77CF}"/>
              </a:ext>
            </a:extLst>
          </p:cNvPr>
          <p:cNvSpPr txBox="1"/>
          <p:nvPr userDrawn="1"/>
        </p:nvSpPr>
        <p:spPr>
          <a:xfrm>
            <a:off x="11392786" y="6512153"/>
            <a:ext cx="4093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3C42EA81-D605-7343-9A50-CB919795E682}" type="slidenum">
              <a:rPr lang="nb-NO" sz="1000" smtClean="0">
                <a:solidFill>
                  <a:schemeClr val="accent1"/>
                </a:solidFill>
              </a:rPr>
              <a:pPr algn="r"/>
              <a:t>‹#›</a:t>
            </a:fld>
            <a:endParaRPr lang="nb-NO" sz="1000" dirty="0">
              <a:solidFill>
                <a:schemeClr val="accent1"/>
              </a:solidFill>
            </a:endParaRPr>
          </a:p>
        </p:txBody>
      </p:sp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ADEA97C7-AAA9-1A95-EE9E-49B47AA24D8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806046" y="5590309"/>
            <a:ext cx="2140528" cy="826366"/>
          </a:xfrm>
        </p:spPr>
        <p:txBody>
          <a:bodyPr lIns="0">
            <a:normAutofit/>
          </a:bodyPr>
          <a:lstStyle>
            <a:lvl1pPr marL="179388" indent="-179388">
              <a:buFont typeface="+mj-lt"/>
              <a:buAutoNum type="arabicPeriod"/>
              <a:tabLst/>
              <a:defRPr sz="1400">
                <a:solidFill>
                  <a:schemeClr val="accent1"/>
                </a:solidFill>
              </a:defRPr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</a:t>
            </a:r>
          </a:p>
        </p:txBody>
      </p:sp>
      <p:sp>
        <p:nvSpPr>
          <p:cNvPr id="13" name="Plassholder for innhold 2">
            <a:extLst>
              <a:ext uri="{FF2B5EF4-FFF2-40B4-BE49-F238E27FC236}">
                <a16:creationId xmlns:a16="http://schemas.microsoft.com/office/drawing/2014/main" id="{D74EC20B-DD70-16AD-96E3-97D5191097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9119756" y="5590309"/>
            <a:ext cx="2140528" cy="826366"/>
          </a:xfrm>
        </p:spPr>
        <p:txBody>
          <a:bodyPr lIns="0">
            <a:normAutofit/>
          </a:bodyPr>
          <a:lstStyle>
            <a:lvl1pPr marL="179388" indent="-179388">
              <a:buFont typeface="+mj-lt"/>
              <a:buAutoNum type="arabicPeriod"/>
              <a:tabLst/>
              <a:defRPr sz="1400">
                <a:solidFill>
                  <a:schemeClr val="accent1"/>
                </a:solidFill>
              </a:defRPr>
            </a:lvl1pPr>
            <a:lvl2pPr marL="496888" indent="-236538">
              <a:buFont typeface="Systemfont normal"/>
              <a:buChar char="⎼"/>
              <a:tabLst/>
              <a:defRPr sz="1600"/>
            </a:lvl2pPr>
            <a:lvl3pPr marL="671513" indent="-223838">
              <a:buFont typeface="Systemfont normal"/>
              <a:buChar char="⎼"/>
              <a:tabLst/>
              <a:defRPr sz="1600"/>
            </a:lvl3pPr>
            <a:lvl4pPr marL="808038" indent="449263">
              <a:tabLst/>
              <a:defRPr sz="1600"/>
            </a:lvl4pPr>
            <a:lvl5pPr>
              <a:defRPr sz="1600"/>
            </a:lvl5pPr>
          </a:lstStyle>
          <a:p>
            <a:pPr lvl="0"/>
            <a:r>
              <a:rPr lang="en-GB" noProof="0" dirty="0"/>
              <a:t>Click and insert text</a:t>
            </a:r>
          </a:p>
        </p:txBody>
      </p:sp>
      <p:pic>
        <p:nvPicPr>
          <p:cNvPr id="4" name="Bilde 3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6C2886E1-9538-D47C-1C75-F8D26F4932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769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textboxes and half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7F1A4142-D23D-9D10-5B45-5D637B05618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05625" y="0"/>
            <a:ext cx="6096000" cy="6858000"/>
          </a:xfrm>
          <a:solidFill>
            <a:schemeClr val="accent6"/>
          </a:solidFill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GB" noProof="0"/>
              <a:t>Click and insert optional photo</a:t>
            </a:r>
          </a:p>
        </p:txBody>
      </p:sp>
      <p:sp>
        <p:nvSpPr>
          <p:cNvPr id="8" name="Avrundet rektangel 7">
            <a:extLst>
              <a:ext uri="{FF2B5EF4-FFF2-40B4-BE49-F238E27FC236}">
                <a16:creationId xmlns:a16="http://schemas.microsoft.com/office/drawing/2014/main" id="{75CFBEF2-967D-EC18-7D98-AB0E20E41B2D}"/>
              </a:ext>
            </a:extLst>
          </p:cNvPr>
          <p:cNvSpPr/>
          <p:nvPr userDrawn="1"/>
        </p:nvSpPr>
        <p:spPr>
          <a:xfrm>
            <a:off x="479425" y="2335386"/>
            <a:ext cx="2306305" cy="1764000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9" name="Plassholder for tekst 13">
            <a:extLst>
              <a:ext uri="{FF2B5EF4-FFF2-40B4-BE49-F238E27FC236}">
                <a16:creationId xmlns:a16="http://schemas.microsoft.com/office/drawing/2014/main" id="{A92C95C6-F48E-4682-5250-070731CFFA3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92334" y="2379222"/>
            <a:ext cx="2065806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3" name="Plassholder for tekst 15">
            <a:extLst>
              <a:ext uri="{FF2B5EF4-FFF2-40B4-BE49-F238E27FC236}">
                <a16:creationId xmlns:a16="http://schemas.microsoft.com/office/drawing/2014/main" id="{40BD4AA3-502E-E00E-4FF2-DB40EFF67D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6672" y="3368109"/>
            <a:ext cx="2065806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4" name="Avrundet rektangel 13">
            <a:extLst>
              <a:ext uri="{FF2B5EF4-FFF2-40B4-BE49-F238E27FC236}">
                <a16:creationId xmlns:a16="http://schemas.microsoft.com/office/drawing/2014/main" id="{6B9B5957-4450-7FF1-14E2-2025989B9F6C}"/>
              </a:ext>
            </a:extLst>
          </p:cNvPr>
          <p:cNvSpPr/>
          <p:nvPr userDrawn="1"/>
        </p:nvSpPr>
        <p:spPr>
          <a:xfrm>
            <a:off x="3183650" y="2335386"/>
            <a:ext cx="2306305" cy="1764000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A45F1F41-0777-066D-A385-D361C3B25C5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96559" y="2379222"/>
            <a:ext cx="2065806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F797A2AB-913E-3BC8-90DA-D5EF5A6BDE5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300897" y="3368109"/>
            <a:ext cx="2065806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7" name="Avrundet rektangel 16">
            <a:extLst>
              <a:ext uri="{FF2B5EF4-FFF2-40B4-BE49-F238E27FC236}">
                <a16:creationId xmlns:a16="http://schemas.microsoft.com/office/drawing/2014/main" id="{6C1C82A6-5A18-4B4E-E6E4-DD156A10A5B6}"/>
              </a:ext>
            </a:extLst>
          </p:cNvPr>
          <p:cNvSpPr/>
          <p:nvPr userDrawn="1"/>
        </p:nvSpPr>
        <p:spPr>
          <a:xfrm>
            <a:off x="479425" y="4429390"/>
            <a:ext cx="2306305" cy="1764000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18" name="Plassholder for tekst 13">
            <a:extLst>
              <a:ext uri="{FF2B5EF4-FFF2-40B4-BE49-F238E27FC236}">
                <a16:creationId xmlns:a16="http://schemas.microsoft.com/office/drawing/2014/main" id="{16BD9A3A-92C6-3AC8-AB65-816498923CA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2334" y="4473226"/>
            <a:ext cx="2065806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19" name="Plassholder for tekst 15">
            <a:extLst>
              <a:ext uri="{FF2B5EF4-FFF2-40B4-BE49-F238E27FC236}">
                <a16:creationId xmlns:a16="http://schemas.microsoft.com/office/drawing/2014/main" id="{BDC75970-D6FD-538F-EF24-B1DC37DE8CF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96672" y="5462113"/>
            <a:ext cx="2065806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0" name="Avrundet rektangel 19">
            <a:extLst>
              <a:ext uri="{FF2B5EF4-FFF2-40B4-BE49-F238E27FC236}">
                <a16:creationId xmlns:a16="http://schemas.microsoft.com/office/drawing/2014/main" id="{52CE95AF-A089-E2EE-F1AF-F7981401A27D}"/>
              </a:ext>
            </a:extLst>
          </p:cNvPr>
          <p:cNvSpPr/>
          <p:nvPr userDrawn="1"/>
        </p:nvSpPr>
        <p:spPr>
          <a:xfrm>
            <a:off x="3183650" y="4429390"/>
            <a:ext cx="2306305" cy="1764000"/>
          </a:xfrm>
          <a:prstGeom prst="roundRect">
            <a:avLst>
              <a:gd name="adj" fmla="val 10756"/>
            </a:avLst>
          </a:prstGeom>
          <a:solidFill>
            <a:schemeClr val="accent1"/>
          </a:solidFill>
          <a:ln>
            <a:noFill/>
          </a:ln>
          <a:effectLst>
            <a:softEdge rad="0"/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21" name="Plassholder for tekst 13">
            <a:extLst>
              <a:ext uri="{FF2B5EF4-FFF2-40B4-BE49-F238E27FC236}">
                <a16:creationId xmlns:a16="http://schemas.microsoft.com/office/drawing/2014/main" id="{DA797DEC-5DB6-6D16-25A7-CBC07880243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296559" y="4473226"/>
            <a:ext cx="2065806" cy="939269"/>
          </a:xfrm>
        </p:spPr>
        <p:txBody>
          <a:bodyPr lIns="36000" anchor="b"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2" name="Plassholder for tekst 15">
            <a:extLst>
              <a:ext uri="{FF2B5EF4-FFF2-40B4-BE49-F238E27FC236}">
                <a16:creationId xmlns:a16="http://schemas.microsoft.com/office/drawing/2014/main" id="{DA32545B-D94E-2F16-94E4-E23E24556D7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300897" y="5462113"/>
            <a:ext cx="2065806" cy="648947"/>
          </a:xfrm>
        </p:spPr>
        <p:txBody>
          <a:bodyPr lIns="36000">
            <a:normAutofit/>
          </a:bodyPr>
          <a:lstStyle>
            <a:lvl1pPr marL="0" indent="0"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Insert text</a:t>
            </a:r>
          </a:p>
        </p:txBody>
      </p:sp>
      <p:sp>
        <p:nvSpPr>
          <p:cNvPr id="23" name="Tittel 1">
            <a:extLst>
              <a:ext uri="{FF2B5EF4-FFF2-40B4-BE49-F238E27FC236}">
                <a16:creationId xmlns:a16="http://schemas.microsoft.com/office/drawing/2014/main" id="{F6B33CDE-718A-702C-1001-0B9E5EA12B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056466"/>
            <a:ext cx="5507489" cy="894080"/>
          </a:xfrm>
        </p:spPr>
        <p:txBody>
          <a:bodyPr lIns="0" anchor="b">
            <a:normAutofit/>
          </a:bodyPr>
          <a:lstStyle>
            <a:lvl1pPr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Click and insert heading </a:t>
            </a:r>
            <a:br>
              <a:rPr lang="en-GB" noProof="0" dirty="0"/>
            </a:br>
            <a:r>
              <a:rPr lang="en-GB" noProof="0" dirty="0"/>
              <a:t>– max 2 lines</a:t>
            </a:r>
          </a:p>
        </p:txBody>
      </p:sp>
      <p:pic>
        <p:nvPicPr>
          <p:cNvPr id="2" name="Bilde 1" descr="Et bilde som inneholder tekst, Font, Grafikk, logo&#10;&#10;Automatisk generert beskrivelse">
            <a:extLst>
              <a:ext uri="{FF2B5EF4-FFF2-40B4-BE49-F238E27FC236}">
                <a16:creationId xmlns:a16="http://schemas.microsoft.com/office/drawing/2014/main" id="{FE9B2B17-8060-9A96-C12F-C431A1C633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0"/>
            <a:ext cx="682131" cy="854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6481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27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F6408F36-8ACC-CCBA-9130-196647BAA9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5125"/>
            <a:ext cx="11233150" cy="1587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B7BC9E8-348D-22AD-A77F-BE35EE3431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2312989"/>
            <a:ext cx="11233150" cy="38639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93566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660" r:id="rId2"/>
    <p:sldLayoutId id="2147483654" r:id="rId3"/>
    <p:sldLayoutId id="2147483653" r:id="rId4"/>
    <p:sldLayoutId id="2147483683" r:id="rId5"/>
    <p:sldLayoutId id="2147483703" r:id="rId6"/>
    <p:sldLayoutId id="2147483701" r:id="rId7"/>
    <p:sldLayoutId id="2147483711" r:id="rId8"/>
    <p:sldLayoutId id="2147483718" r:id="rId9"/>
    <p:sldLayoutId id="2147483715" r:id="rId10"/>
    <p:sldLayoutId id="2147483722" r:id="rId11"/>
    <p:sldLayoutId id="2147483704" r:id="rId12"/>
    <p:sldLayoutId id="2147483702" r:id="rId13"/>
    <p:sldLayoutId id="2147483705" r:id="rId14"/>
    <p:sldLayoutId id="2147483686" r:id="rId15"/>
    <p:sldLayoutId id="2147483650" r:id="rId16"/>
    <p:sldLayoutId id="2147483661" r:id="rId17"/>
    <p:sldLayoutId id="2147483662" r:id="rId18"/>
    <p:sldLayoutId id="2147483664" r:id="rId19"/>
    <p:sldLayoutId id="2147483665" r:id="rId20"/>
    <p:sldLayoutId id="2147483663" r:id="rId21"/>
    <p:sldLayoutId id="2147483710" r:id="rId22"/>
    <p:sldLayoutId id="2147483697" r:id="rId23"/>
    <p:sldLayoutId id="2147483687" r:id="rId24"/>
    <p:sldLayoutId id="2147483695" r:id="rId25"/>
    <p:sldLayoutId id="2147483696" r:id="rId26"/>
    <p:sldLayoutId id="2147483668" r:id="rId27"/>
    <p:sldLayoutId id="2147483716" r:id="rId28"/>
    <p:sldLayoutId id="2147483667" r:id="rId29"/>
    <p:sldLayoutId id="2147483669" r:id="rId30"/>
    <p:sldLayoutId id="2147483720" r:id="rId31"/>
    <p:sldLayoutId id="2147483670" r:id="rId32"/>
    <p:sldLayoutId id="2147483671" r:id="rId33"/>
    <p:sldLayoutId id="2147483698" r:id="rId34"/>
    <p:sldLayoutId id="2147483699" r:id="rId35"/>
    <p:sldLayoutId id="2147483712" r:id="rId36"/>
    <p:sldLayoutId id="2147483700" r:id="rId37"/>
    <p:sldLayoutId id="2147483672" r:id="rId38"/>
    <p:sldLayoutId id="2147483723" r:id="rId39"/>
    <p:sldLayoutId id="2147483727" r:id="rId40"/>
    <p:sldLayoutId id="2147483713" r:id="rId41"/>
    <p:sldLayoutId id="2147483673" r:id="rId42"/>
    <p:sldLayoutId id="2147483674" r:id="rId43"/>
    <p:sldLayoutId id="2147483675" r:id="rId44"/>
    <p:sldLayoutId id="2147483676" r:id="rId45"/>
    <p:sldLayoutId id="2147483728" r:id="rId46"/>
    <p:sldLayoutId id="2147483726" r:id="rId47"/>
    <p:sldLayoutId id="2147483678" r:id="rId48"/>
    <p:sldLayoutId id="2147483709" r:id="rId49"/>
    <p:sldLayoutId id="2147483693" r:id="rId50"/>
    <p:sldLayoutId id="2147483708" r:id="rId51"/>
    <p:sldLayoutId id="2147483680" r:id="rId52"/>
    <p:sldLayoutId id="2147483719" r:id="rId53"/>
    <p:sldLayoutId id="2147483730" r:id="rId5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42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02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orient="horz" pos="1457" userDrawn="1">
          <p15:clr>
            <a:srgbClr val="F26B43"/>
          </p15:clr>
        </p15:guide>
        <p15:guide id="6" orient="horz" pos="1230" userDrawn="1">
          <p15:clr>
            <a:srgbClr val="F26B43"/>
          </p15:clr>
        </p15:guide>
        <p15:guide id="7" orient="horz" pos="184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49E2CEA-C5AB-48DA-A425-C19F38604B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49E2CEA-C5AB-48DA-A425-C19F38604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53017D1-FE06-446E-89B7-F75DCE57F1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0539" y="6356350"/>
            <a:ext cx="4047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386F47-1319-4149-B559-EDEA9D8BFA45}" type="slidenum">
              <a:rPr lang="nb-NO" smtClean="0"/>
              <a:t>‹#›</a:t>
            </a:fld>
            <a:endParaRPr lang="nb-NO"/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1B8ABE0A-342B-4AC8-BDBB-01B10CDE018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851" y="0"/>
            <a:ext cx="981873" cy="1202292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74A8B993-934C-4572-B89B-FF9D92BF0DE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851" y="0"/>
            <a:ext cx="981873" cy="12022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763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729" r:id="rId3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9630B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3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Tx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image" Target="../media/image33.jpeg"/><Relationship Id="rId7" Type="http://schemas.openxmlformats.org/officeDocument/2006/relationships/image" Target="../media/image35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8.jpeg"/><Relationship Id="rId5" Type="http://schemas.openxmlformats.org/officeDocument/2006/relationships/image" Target="../media/image34.jpeg"/><Relationship Id="rId10" Type="http://schemas.openxmlformats.org/officeDocument/2006/relationships/image" Target="../media/image39.svg"/><Relationship Id="rId4" Type="http://schemas.openxmlformats.org/officeDocument/2006/relationships/image" Target="../media/image47.jpeg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5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5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5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5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4.xml"/><Relationship Id="rId6" Type="http://schemas.openxmlformats.org/officeDocument/2006/relationships/hyperlink" Target="http://www.ngbutikken.no/" TargetMode="Externa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kjemikerpavei@ngn.no" TargetMode="External"/><Relationship Id="rId2" Type="http://schemas.openxmlformats.org/officeDocument/2006/relationships/hyperlink" Target="mailto:kundeservice@ngn.no" TargetMode="Externa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57.png"/><Relationship Id="rId4" Type="http://schemas.openxmlformats.org/officeDocument/2006/relationships/hyperlink" Target="https://www.ngbutikken.no/produkter/smartsekk/smartsekk/c-24/c-120/p-1529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lava.no/aktuelt/slik-blir-glass-til-isolasjon" TargetMode="External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10" Type="http://schemas.openxmlformats.org/officeDocument/2006/relationships/image" Target="../media/image40.jpeg"/><Relationship Id="rId4" Type="http://schemas.openxmlformats.org/officeDocument/2006/relationships/image" Target="../media/image34.jpeg"/><Relationship Id="rId9" Type="http://schemas.openxmlformats.org/officeDocument/2006/relationships/image" Target="../media/image39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 descr="Et bilde som inneholder grunn, innendørs, lager, gulv&#10;&#10;Automatisk generert beskrivelse">
            <a:extLst>
              <a:ext uri="{FF2B5EF4-FFF2-40B4-BE49-F238E27FC236}">
                <a16:creationId xmlns:a16="http://schemas.microsoft.com/office/drawing/2014/main" id="{2D079EB7-FE5B-B6F9-98C6-8D262E2A604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" name="Tittel 2">
            <a:extLst>
              <a:ext uri="{FF2B5EF4-FFF2-40B4-BE49-F238E27FC236}">
                <a16:creationId xmlns:a16="http://schemas.microsoft.com/office/drawing/2014/main" id="{38C354E9-7591-2374-94B9-506FD0A78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322730"/>
            <a:ext cx="5616577" cy="4679576"/>
          </a:xfrm>
        </p:spPr>
        <p:txBody>
          <a:bodyPr/>
          <a:lstStyle/>
          <a:p>
            <a:r>
              <a:rPr lang="nb-NO" dirty="0"/>
              <a:t>Materialgjenvinning av glass i Trøndelag</a:t>
            </a:r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ADEC6FB5-6B43-DA47-91D4-D4C16741B0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5288597"/>
            <a:ext cx="5616576" cy="1425967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Mottak på Stjørd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amarbeid med Glav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6181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 descr="Et bilde som inneholder grunn, utendørs, singel, grå&#10;&#10;Automatisk generert beskrivelse">
            <a:extLst>
              <a:ext uri="{FF2B5EF4-FFF2-40B4-BE49-F238E27FC236}">
                <a16:creationId xmlns:a16="http://schemas.microsoft.com/office/drawing/2014/main" id="{6D24BF18-CF56-D6E1-BC04-F7DE2764D3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4D5D9C4-4E19-4F19-03A7-BAF8919B4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069166"/>
            <a:ext cx="11233150" cy="490003"/>
          </a:xfrm>
        </p:spPr>
        <p:txBody>
          <a:bodyPr/>
          <a:lstStyle/>
          <a:p>
            <a:pPr algn="ctr"/>
            <a:r>
              <a:rPr lang="en-US" dirty="0" err="1"/>
              <a:t>Håndtering</a:t>
            </a:r>
            <a:r>
              <a:rPr lang="en-US" dirty="0"/>
              <a:t> av </a:t>
            </a:r>
            <a:r>
              <a:rPr lang="en-US" dirty="0" err="1"/>
              <a:t>laminert</a:t>
            </a:r>
            <a:r>
              <a:rPr lang="en-US" dirty="0"/>
              <a:t> glass </a:t>
            </a:r>
            <a:endParaRPr lang="en-US" dirty="0">
              <a:highlight>
                <a:srgbClr val="FFFF00"/>
              </a:highlight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C8367BB4-BEE6-FA4F-C45B-456CB310FB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6831" y="1925544"/>
            <a:ext cx="2160000" cy="2160000"/>
          </a:xfrm>
          <a:prstGeom prst="roundRect">
            <a:avLst/>
          </a:prstGeom>
          <a:noFill/>
        </p:spPr>
      </p:pic>
      <p:pic>
        <p:nvPicPr>
          <p:cNvPr id="3" name="Bilde 2">
            <a:extLst>
              <a:ext uri="{FF2B5EF4-FFF2-40B4-BE49-F238E27FC236}">
                <a16:creationId xmlns:a16="http://schemas.microsoft.com/office/drawing/2014/main" id="{D4CFA862-F91A-F83F-1DD5-ADE6FE8E241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36000" y="1929914"/>
            <a:ext cx="2160000" cy="2160000"/>
          </a:xfrm>
          <a:prstGeom prst="roundRect">
            <a:avLst/>
          </a:prstGeom>
          <a:noFill/>
          <a:scene3d>
            <a:camera prst="orthographicFront">
              <a:rot lat="0" lon="0" rev="16200000"/>
            </a:camera>
            <a:lightRig rig="threePt" dir="t"/>
          </a:scene3d>
        </p:spPr>
      </p:pic>
      <p:pic>
        <p:nvPicPr>
          <p:cNvPr id="4" name="Plassholder for innhold 3">
            <a:extLst>
              <a:ext uri="{FF2B5EF4-FFF2-40B4-BE49-F238E27FC236}">
                <a16:creationId xmlns:a16="http://schemas.microsoft.com/office/drawing/2014/main" id="{F27A6A47-B040-0B81-9C44-D6C6CCB8BFC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6581" y="1925544"/>
            <a:ext cx="2160000" cy="2160000"/>
          </a:xfrm>
          <a:prstGeom prst="roundRect">
            <a:avLst/>
          </a:prstGeom>
          <a:noFill/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BBDB5D4D-8BBA-0B5B-11FC-58D0F2DA357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5169" y="1929914"/>
            <a:ext cx="2160000" cy="2160000"/>
          </a:xfrm>
          <a:prstGeom prst="roundRect">
            <a:avLst/>
          </a:prstGeom>
          <a:noFill/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DFAC586-41E0-F461-563C-5F41AE9A34CC}"/>
              </a:ext>
            </a:extLst>
          </p:cNvPr>
          <p:cNvSpPr txBox="1">
            <a:spLocks/>
          </p:cNvSpPr>
          <p:nvPr/>
        </p:nvSpPr>
        <p:spPr>
          <a:xfrm>
            <a:off x="1638857" y="4156667"/>
            <a:ext cx="2176312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 err="1">
                <a:latin typeface="+mj-lt"/>
                <a:ea typeface="+mj-ea"/>
                <a:cs typeface="+mj-cs"/>
              </a:rPr>
              <a:t>Laminert</a:t>
            </a:r>
            <a:r>
              <a:rPr lang="en-US" b="1" dirty="0">
                <a:latin typeface="+mj-lt"/>
                <a:ea typeface="+mj-ea"/>
                <a:cs typeface="+mj-cs"/>
              </a:rPr>
              <a:t> glas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477EA82-3817-225F-68A5-A92F1536470F}"/>
              </a:ext>
            </a:extLst>
          </p:cNvPr>
          <p:cNvSpPr txBox="1">
            <a:spLocks/>
          </p:cNvSpPr>
          <p:nvPr/>
        </p:nvSpPr>
        <p:spPr>
          <a:xfrm>
            <a:off x="3945689" y="4156667"/>
            <a:ext cx="2140622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 err="1">
                <a:latin typeface="+mj-lt"/>
                <a:ea typeface="+mj-ea"/>
                <a:cs typeface="+mj-cs"/>
              </a:rPr>
              <a:t>Prosessering</a:t>
            </a: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8B22AB7-C89E-1D5A-CA8C-C00AEF5B2537}"/>
              </a:ext>
            </a:extLst>
          </p:cNvPr>
          <p:cNvSpPr txBox="1">
            <a:spLocks/>
          </p:cNvSpPr>
          <p:nvPr/>
        </p:nvSpPr>
        <p:spPr>
          <a:xfrm>
            <a:off x="8487477" y="4152297"/>
            <a:ext cx="2233531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 err="1">
                <a:latin typeface="+mj-lt"/>
                <a:ea typeface="+mj-ea"/>
                <a:cs typeface="+mj-cs"/>
              </a:rPr>
              <a:t>Materialgjenvinning</a:t>
            </a: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2B0F84E-858E-E138-498E-84EBA0F2B6DD}"/>
              </a:ext>
            </a:extLst>
          </p:cNvPr>
          <p:cNvSpPr txBox="1">
            <a:spLocks/>
          </p:cNvSpPr>
          <p:nvPr/>
        </p:nvSpPr>
        <p:spPr>
          <a:xfrm>
            <a:off x="6216753" y="4156667"/>
            <a:ext cx="2160078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>
                <a:latin typeface="+mj-lt"/>
                <a:ea typeface="+mj-ea"/>
                <a:cs typeface="+mj-cs"/>
              </a:rPr>
              <a:t>Glass</a:t>
            </a:r>
          </a:p>
        </p:txBody>
      </p:sp>
      <p:sp>
        <p:nvSpPr>
          <p:cNvPr id="21" name="Pil: høyre 20">
            <a:extLst>
              <a:ext uri="{FF2B5EF4-FFF2-40B4-BE49-F238E27FC236}">
                <a16:creationId xmlns:a16="http://schemas.microsoft.com/office/drawing/2014/main" id="{52C381A3-153F-C5EF-E048-D94458CCC83F}"/>
              </a:ext>
            </a:extLst>
          </p:cNvPr>
          <p:cNvSpPr/>
          <p:nvPr/>
        </p:nvSpPr>
        <p:spPr>
          <a:xfrm>
            <a:off x="3621278" y="2815739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Pil: høyre 22">
            <a:extLst>
              <a:ext uri="{FF2B5EF4-FFF2-40B4-BE49-F238E27FC236}">
                <a16:creationId xmlns:a16="http://schemas.microsoft.com/office/drawing/2014/main" id="{D1F6829B-1367-FA20-6553-49193592620D}"/>
              </a:ext>
            </a:extLst>
          </p:cNvPr>
          <p:cNvSpPr/>
          <p:nvPr/>
        </p:nvSpPr>
        <p:spPr>
          <a:xfrm>
            <a:off x="5897273" y="2811369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Pil: høyre 23">
            <a:extLst>
              <a:ext uri="{FF2B5EF4-FFF2-40B4-BE49-F238E27FC236}">
                <a16:creationId xmlns:a16="http://schemas.microsoft.com/office/drawing/2014/main" id="{29EB046B-64A9-A4C9-A10B-AE913B4845F7}"/>
              </a:ext>
            </a:extLst>
          </p:cNvPr>
          <p:cNvSpPr/>
          <p:nvPr/>
        </p:nvSpPr>
        <p:spPr>
          <a:xfrm>
            <a:off x="8174296" y="2811369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1D84098-940A-3F5B-62E6-26D5E431D98D}"/>
              </a:ext>
            </a:extLst>
          </p:cNvPr>
          <p:cNvSpPr txBox="1"/>
          <p:nvPr/>
        </p:nvSpPr>
        <p:spPr>
          <a:xfrm>
            <a:off x="4692966" y="5856759"/>
            <a:ext cx="3758327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vfall</a:t>
            </a:r>
          </a:p>
        </p:txBody>
      </p:sp>
      <p:sp>
        <p:nvSpPr>
          <p:cNvPr id="7" name="Pil: høyre 6">
            <a:extLst>
              <a:ext uri="{FF2B5EF4-FFF2-40B4-BE49-F238E27FC236}">
                <a16:creationId xmlns:a16="http://schemas.microsoft.com/office/drawing/2014/main" id="{CA6C629E-4EA0-C0F0-4F42-7F950623B851}"/>
              </a:ext>
            </a:extLst>
          </p:cNvPr>
          <p:cNvSpPr/>
          <p:nvPr/>
        </p:nvSpPr>
        <p:spPr>
          <a:xfrm>
            <a:off x="6958476" y="4973504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6E2B9178-95FB-8AB2-3369-256FC63CBE99}"/>
              </a:ext>
            </a:extLst>
          </p:cNvPr>
          <p:cNvSpPr txBox="1"/>
          <p:nvPr/>
        </p:nvSpPr>
        <p:spPr>
          <a:xfrm>
            <a:off x="5648072" y="5834634"/>
            <a:ext cx="6096000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brenning</a:t>
            </a:r>
            <a:endParaRPr lang="en-US" sz="16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C8317D8-1FF3-39C4-5FDB-40D6D75F5987}"/>
              </a:ext>
            </a:extLst>
          </p:cNvPr>
          <p:cNvSpPr txBox="1"/>
          <p:nvPr/>
        </p:nvSpPr>
        <p:spPr>
          <a:xfrm>
            <a:off x="4618504" y="5023812"/>
            <a:ext cx="3758327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etaller</a:t>
            </a:r>
            <a:endParaRPr lang="en-US" sz="16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10188ECB-0963-BD7D-781F-0553A32EB209}"/>
              </a:ext>
            </a:extLst>
          </p:cNvPr>
          <p:cNvSpPr txBox="1"/>
          <p:nvPr/>
        </p:nvSpPr>
        <p:spPr>
          <a:xfrm>
            <a:off x="5960903" y="5003908"/>
            <a:ext cx="6096000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aterialgjenvinning</a:t>
            </a:r>
            <a:endParaRPr lang="en-US" sz="16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9" name="Grafikk 28" descr="Produksjon med heldekkende fyll">
            <a:extLst>
              <a:ext uri="{FF2B5EF4-FFF2-40B4-BE49-F238E27FC236}">
                <a16:creationId xmlns:a16="http://schemas.microsoft.com/office/drawing/2014/main" id="{6EA632A3-4025-6FC7-FAEC-EAC40E72BD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439319" y="5691562"/>
            <a:ext cx="600076" cy="600076"/>
          </a:xfrm>
          <a:prstGeom prst="rect">
            <a:avLst/>
          </a:prstGeom>
        </p:spPr>
      </p:pic>
      <p:pic>
        <p:nvPicPr>
          <p:cNvPr id="31" name="Grafikk 30" descr="Resirkuler med heldekkende fyll">
            <a:extLst>
              <a:ext uri="{FF2B5EF4-FFF2-40B4-BE49-F238E27FC236}">
                <a16:creationId xmlns:a16="http://schemas.microsoft.com/office/drawing/2014/main" id="{3BA80095-22F3-5B94-A15B-C4A26BE2A28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39319" y="4866897"/>
            <a:ext cx="600076" cy="600076"/>
          </a:xfrm>
          <a:prstGeom prst="rect">
            <a:avLst/>
          </a:prstGeom>
        </p:spPr>
      </p:pic>
      <p:sp>
        <p:nvSpPr>
          <p:cNvPr id="32" name="Pil: høyre 31">
            <a:extLst>
              <a:ext uri="{FF2B5EF4-FFF2-40B4-BE49-F238E27FC236}">
                <a16:creationId xmlns:a16="http://schemas.microsoft.com/office/drawing/2014/main" id="{5B69C7FE-E6A0-6DAD-AB79-998889F8FA68}"/>
              </a:ext>
            </a:extLst>
          </p:cNvPr>
          <p:cNvSpPr/>
          <p:nvPr/>
        </p:nvSpPr>
        <p:spPr>
          <a:xfrm>
            <a:off x="6958476" y="5815682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3" name="Pil: høyre 32">
            <a:extLst>
              <a:ext uri="{FF2B5EF4-FFF2-40B4-BE49-F238E27FC236}">
                <a16:creationId xmlns:a16="http://schemas.microsoft.com/office/drawing/2014/main" id="{1D171B78-60DF-0783-983A-E89C1F10657A}"/>
              </a:ext>
            </a:extLst>
          </p:cNvPr>
          <p:cNvSpPr/>
          <p:nvPr/>
        </p:nvSpPr>
        <p:spPr>
          <a:xfrm rot="4123599">
            <a:off x="5746633" y="3961097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602217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 descr="Et bilde som inneholder akvarium, innendørs&#10;&#10;Automatisk generert beskrivelse">
            <a:extLst>
              <a:ext uri="{FF2B5EF4-FFF2-40B4-BE49-F238E27FC236}">
                <a16:creationId xmlns:a16="http://schemas.microsoft.com/office/drawing/2014/main" id="{FE664DDB-37E2-CAB0-5E30-E0562495AAB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5FEF567-093E-8F74-76C4-D2623B64F9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5490" y="0"/>
            <a:ext cx="3205872" cy="2090057"/>
          </a:xfrm>
        </p:spPr>
        <p:txBody>
          <a:bodyPr/>
          <a:lstStyle/>
          <a:p>
            <a:r>
              <a:rPr lang="en-US" dirty="0" err="1"/>
              <a:t>Laminert</a:t>
            </a:r>
            <a:r>
              <a:rPr lang="en-US" dirty="0"/>
              <a:t> glass </a:t>
            </a:r>
          </a:p>
          <a:p>
            <a:r>
              <a:rPr lang="en-US" dirty="0"/>
              <a:t>(</a:t>
            </a:r>
            <a:r>
              <a:rPr lang="en-US" dirty="0" err="1"/>
              <a:t>inkl</a:t>
            </a:r>
            <a:r>
              <a:rPr lang="en-US" dirty="0"/>
              <a:t>. </a:t>
            </a:r>
            <a:r>
              <a:rPr lang="en-US" dirty="0" err="1"/>
              <a:t>bilvinduer</a:t>
            </a:r>
            <a:r>
              <a:rPr lang="en-US" dirty="0"/>
              <a:t>)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91C7854-27EF-F0AB-4215-261569E4A29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72556" y="2089356"/>
            <a:ext cx="3205872" cy="4768644"/>
          </a:xfrm>
        </p:spPr>
        <p:txBody>
          <a:bodyPr/>
          <a:lstStyle/>
          <a:p>
            <a:r>
              <a:rPr lang="en-US" dirty="0" err="1"/>
              <a:t>Glasset</a:t>
            </a:r>
            <a:r>
              <a:rPr lang="en-US" dirty="0"/>
              <a:t> </a:t>
            </a:r>
            <a:r>
              <a:rPr lang="en-US" dirty="0" err="1"/>
              <a:t>skjæres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av </a:t>
            </a:r>
            <a:r>
              <a:rPr lang="en-US" dirty="0" err="1"/>
              <a:t>vrakbiler</a:t>
            </a:r>
            <a:endParaRPr lang="en-US" dirty="0"/>
          </a:p>
          <a:p>
            <a:r>
              <a:rPr lang="en-US" dirty="0" err="1"/>
              <a:t>Fulle</a:t>
            </a:r>
            <a:r>
              <a:rPr lang="en-US" dirty="0"/>
              <a:t> lass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gå</a:t>
            </a:r>
            <a:r>
              <a:rPr lang="en-US" dirty="0"/>
              <a:t> </a:t>
            </a:r>
            <a:r>
              <a:rPr lang="en-US" dirty="0" err="1"/>
              <a:t>direkte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Norsk Gjenvinning </a:t>
            </a:r>
            <a:r>
              <a:rPr lang="en-US" dirty="0" err="1"/>
              <a:t>Østfold</a:t>
            </a:r>
            <a:endParaRPr lang="en-US" dirty="0"/>
          </a:p>
          <a:p>
            <a:r>
              <a:rPr lang="en-US" dirty="0"/>
              <a:t>Kan </a:t>
            </a:r>
            <a:r>
              <a:rPr lang="en-US" dirty="0" err="1"/>
              <a:t>leveres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bulk</a:t>
            </a:r>
          </a:p>
          <a:p>
            <a:r>
              <a:rPr lang="en-US" dirty="0" err="1"/>
              <a:t>Jobbes</a:t>
            </a:r>
            <a:r>
              <a:rPr lang="en-US" dirty="0"/>
              <a:t> med </a:t>
            </a:r>
            <a:r>
              <a:rPr lang="en-US" dirty="0" err="1"/>
              <a:t>lokal</a:t>
            </a:r>
            <a:r>
              <a:rPr lang="en-US" dirty="0"/>
              <a:t> </a:t>
            </a:r>
            <a:r>
              <a:rPr lang="en-US" dirty="0" err="1"/>
              <a:t>løsning</a:t>
            </a:r>
            <a:r>
              <a:rPr lang="en-US" dirty="0"/>
              <a:t> I Trøndelag</a:t>
            </a:r>
          </a:p>
        </p:txBody>
      </p:sp>
    </p:spTree>
    <p:extLst>
      <p:ext uri="{BB962C8B-B14F-4D97-AF65-F5344CB8AC3E}">
        <p14:creationId xmlns:p14="http://schemas.microsoft.com/office/powerpoint/2010/main" val="22267026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 descr="Et bilde som inneholder Mineral, kvarts, krystall, fjell&#10;&#10;Automatisk generert beskrivelse">
            <a:extLst>
              <a:ext uri="{FF2B5EF4-FFF2-40B4-BE49-F238E27FC236}">
                <a16:creationId xmlns:a16="http://schemas.microsoft.com/office/drawing/2014/main" id="{170D8124-435E-CDE9-A094-86AA2927E0A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66C4E55-AF76-2527-880E-2435259B11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5490" y="0"/>
            <a:ext cx="3205872" cy="2090057"/>
          </a:xfrm>
        </p:spPr>
        <p:txBody>
          <a:bodyPr/>
          <a:lstStyle/>
          <a:p>
            <a:r>
              <a:rPr lang="en-US" dirty="0"/>
              <a:t>Avfall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bilglas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590014-0DD9-ED3F-1DB2-DDE2D6471CB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72556" y="2089356"/>
            <a:ext cx="3205872" cy="4768644"/>
          </a:xfrm>
        </p:spPr>
        <p:txBody>
          <a:bodyPr/>
          <a:lstStyle/>
          <a:p>
            <a:r>
              <a:rPr lang="en-US" dirty="0" err="1"/>
              <a:t>Lagres</a:t>
            </a:r>
            <a:r>
              <a:rPr lang="en-US" dirty="0"/>
              <a:t> over </a:t>
            </a:r>
            <a:r>
              <a:rPr lang="en-US" dirty="0" err="1"/>
              <a:t>tid</a:t>
            </a:r>
            <a:r>
              <a:rPr lang="en-US" dirty="0"/>
              <a:t>. </a:t>
            </a:r>
            <a:r>
              <a:rPr lang="en-US" dirty="0" err="1"/>
              <a:t>Vendes</a:t>
            </a:r>
            <a:r>
              <a:rPr lang="en-US" dirty="0"/>
              <a:t> og </a:t>
            </a:r>
            <a:r>
              <a:rPr lang="en-US" dirty="0" err="1"/>
              <a:t>knuses</a:t>
            </a:r>
            <a:r>
              <a:rPr lang="en-US" dirty="0"/>
              <a:t>. </a:t>
            </a:r>
          </a:p>
          <a:p>
            <a:r>
              <a:rPr lang="en-US" dirty="0" err="1"/>
              <a:t>Prosess</a:t>
            </a:r>
            <a:r>
              <a:rPr lang="en-US" dirty="0"/>
              <a:t> med å ta </a:t>
            </a:r>
            <a:r>
              <a:rPr lang="en-US" dirty="0" err="1"/>
              <a:t>ut</a:t>
            </a:r>
            <a:r>
              <a:rPr lang="en-US" dirty="0"/>
              <a:t> glass</a:t>
            </a:r>
          </a:p>
        </p:txBody>
      </p:sp>
    </p:spTree>
    <p:extLst>
      <p:ext uri="{BB962C8B-B14F-4D97-AF65-F5344CB8AC3E}">
        <p14:creationId xmlns:p14="http://schemas.microsoft.com/office/powerpoint/2010/main" val="95705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 descr="Et bilde som inneholder grunn, utendørs, singel, grå&#10;&#10;Automatisk generert beskrivelse">
            <a:extLst>
              <a:ext uri="{FF2B5EF4-FFF2-40B4-BE49-F238E27FC236}">
                <a16:creationId xmlns:a16="http://schemas.microsoft.com/office/drawing/2014/main" id="{6D24BF18-CF56-D6E1-BC04-F7DE2764D3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689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4D5D9C4-4E19-4F19-03A7-BAF8919B4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069166"/>
            <a:ext cx="11233150" cy="734234"/>
          </a:xfrm>
        </p:spPr>
        <p:txBody>
          <a:bodyPr>
            <a:norm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Glass </a:t>
            </a:r>
            <a:r>
              <a:rPr lang="en-US" dirty="0" err="1">
                <a:solidFill>
                  <a:schemeClr val="tx1"/>
                </a:solidFill>
              </a:rPr>
              <a:t>i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treramme</a:t>
            </a:r>
            <a:r>
              <a:rPr lang="en-US" dirty="0">
                <a:solidFill>
                  <a:schemeClr val="tx1"/>
                </a:solidFill>
              </a:rPr>
              <a:t> , Rent </a:t>
            </a:r>
            <a:r>
              <a:rPr lang="en-US" dirty="0" err="1">
                <a:solidFill>
                  <a:schemeClr val="tx1"/>
                </a:solidFill>
              </a:rPr>
              <a:t>Planglass</a:t>
            </a:r>
            <a:r>
              <a:rPr lang="en-US" dirty="0">
                <a:solidFill>
                  <a:schemeClr val="tx1"/>
                </a:solidFill>
              </a:rPr>
              <a:t> og </a:t>
            </a:r>
            <a:r>
              <a:rPr lang="en-US" dirty="0" err="1">
                <a:solidFill>
                  <a:schemeClr val="tx1"/>
                </a:solidFill>
              </a:rPr>
              <a:t>lignend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DFAC586-41E0-F461-563C-5F41AE9A34CC}"/>
              </a:ext>
            </a:extLst>
          </p:cNvPr>
          <p:cNvSpPr txBox="1">
            <a:spLocks/>
          </p:cNvSpPr>
          <p:nvPr/>
        </p:nvSpPr>
        <p:spPr>
          <a:xfrm>
            <a:off x="1638857" y="4156667"/>
            <a:ext cx="2176312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477EA82-3817-225F-68A5-A92F1536470F}"/>
              </a:ext>
            </a:extLst>
          </p:cNvPr>
          <p:cNvSpPr txBox="1">
            <a:spLocks/>
          </p:cNvSpPr>
          <p:nvPr/>
        </p:nvSpPr>
        <p:spPr>
          <a:xfrm>
            <a:off x="3945689" y="4156667"/>
            <a:ext cx="2140622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8B22AB7-C89E-1D5A-CA8C-C00AEF5B2537}"/>
              </a:ext>
            </a:extLst>
          </p:cNvPr>
          <p:cNvSpPr txBox="1">
            <a:spLocks/>
          </p:cNvSpPr>
          <p:nvPr/>
        </p:nvSpPr>
        <p:spPr>
          <a:xfrm>
            <a:off x="8487477" y="4152297"/>
            <a:ext cx="2233531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2B0F84E-858E-E138-498E-84EBA0F2B6DD}"/>
              </a:ext>
            </a:extLst>
          </p:cNvPr>
          <p:cNvSpPr txBox="1">
            <a:spLocks/>
          </p:cNvSpPr>
          <p:nvPr/>
        </p:nvSpPr>
        <p:spPr>
          <a:xfrm>
            <a:off x="6216753" y="4156667"/>
            <a:ext cx="2160078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A9B57BFF-E73B-DC82-CB1A-17AA779BBE3B}"/>
              </a:ext>
            </a:extLst>
          </p:cNvPr>
          <p:cNvSpPr txBox="1"/>
          <p:nvPr/>
        </p:nvSpPr>
        <p:spPr>
          <a:xfrm>
            <a:off x="2751667" y="2142067"/>
            <a:ext cx="51308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Kan leveres på følgende måte:</a:t>
            </a:r>
          </a:p>
          <a:p>
            <a:r>
              <a:rPr lang="nb-NO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Container (kun rent planglas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Stati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Pal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Knust i </a:t>
            </a:r>
            <a:r>
              <a:rPr lang="nb-NO" dirty="0" err="1"/>
              <a:t>Ibc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299202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lassholder for bilde 9" descr="Et bilde som inneholder nærbilde, vinter&#10;&#10;Automatisk generert beskrivelse">
            <a:extLst>
              <a:ext uri="{FF2B5EF4-FFF2-40B4-BE49-F238E27FC236}">
                <a16:creationId xmlns:a16="http://schemas.microsoft.com/office/drawing/2014/main" id="{DAB77CF5-9439-910D-DB92-28D81A15D7A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78B0D8D-3CE2-A94A-CF80-6A16595E16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5490" y="0"/>
            <a:ext cx="3205872" cy="2090057"/>
          </a:xfrm>
        </p:spPr>
        <p:txBody>
          <a:bodyPr/>
          <a:lstStyle/>
          <a:p>
            <a:r>
              <a:rPr lang="en-US" dirty="0" err="1"/>
              <a:t>Resirkulert</a:t>
            </a:r>
            <a:r>
              <a:rPr lang="en-US" dirty="0"/>
              <a:t> </a:t>
            </a:r>
            <a:r>
              <a:rPr lang="en-US" dirty="0" err="1"/>
              <a:t>råv</a:t>
            </a:r>
            <a:r>
              <a:rPr lang="en-US" i="1" dirty="0" err="1"/>
              <a:t>a</a:t>
            </a:r>
            <a:r>
              <a:rPr lang="en-US" dirty="0" err="1"/>
              <a:t>re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sendes</a:t>
            </a:r>
            <a:r>
              <a:rPr lang="en-US" dirty="0"/>
              <a:t> </a:t>
            </a:r>
            <a:r>
              <a:rPr lang="en-US" dirty="0" err="1"/>
              <a:t>videre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materialgjenvinning</a:t>
            </a:r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58C85E5-8583-E832-F66B-1D6A6256D31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72556" y="2089356"/>
            <a:ext cx="3205872" cy="476864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8163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 descr="Et bilde som inneholder person, klær, Refleksklær, arbeidsantrekk&#10;&#10;Automatisk generert beskrivelse">
            <a:extLst>
              <a:ext uri="{FF2B5EF4-FFF2-40B4-BE49-F238E27FC236}">
                <a16:creationId xmlns:a16="http://schemas.microsoft.com/office/drawing/2014/main" id="{D2291863-7333-5426-4D7C-90855251976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noFill/>
        </p:spPr>
      </p:pic>
    </p:spTree>
    <p:extLst>
      <p:ext uri="{BB962C8B-B14F-4D97-AF65-F5344CB8AC3E}">
        <p14:creationId xmlns:p14="http://schemas.microsoft.com/office/powerpoint/2010/main" val="1603961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 descr="Et bilde som inneholder grunn, utendørs, singel, grå&#10;&#10;Automatisk generert beskrivelse">
            <a:extLst>
              <a:ext uri="{FF2B5EF4-FFF2-40B4-BE49-F238E27FC236}">
                <a16:creationId xmlns:a16="http://schemas.microsoft.com/office/drawing/2014/main" id="{6D24BF18-CF56-D6E1-BC04-F7DE2764D3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689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4D5D9C4-4E19-4F19-03A7-BAF8919B4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069166"/>
            <a:ext cx="11233150" cy="490003"/>
          </a:xfrm>
        </p:spPr>
        <p:txBody>
          <a:bodyPr/>
          <a:lstStyle/>
          <a:p>
            <a:pPr algn="ctr"/>
            <a:r>
              <a:rPr lang="en-US" dirty="0" err="1">
                <a:solidFill>
                  <a:schemeClr val="tx1"/>
                </a:solidFill>
              </a:rPr>
              <a:t>Materialgjenvinningsprosessen</a:t>
            </a:r>
            <a:r>
              <a:rPr lang="en-US" dirty="0">
                <a:solidFill>
                  <a:schemeClr val="tx1"/>
                </a:solidFill>
              </a:rPr>
              <a:t> hos Glava </a:t>
            </a:r>
            <a:r>
              <a:rPr lang="en-US" dirty="0" err="1">
                <a:solidFill>
                  <a:schemeClr val="tx1"/>
                </a:solidFill>
              </a:rPr>
              <a:t>Stjørdal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DFAC586-41E0-F461-563C-5F41AE9A34CC}"/>
              </a:ext>
            </a:extLst>
          </p:cNvPr>
          <p:cNvSpPr txBox="1">
            <a:spLocks/>
          </p:cNvSpPr>
          <p:nvPr/>
        </p:nvSpPr>
        <p:spPr>
          <a:xfrm>
            <a:off x="2345267" y="2159001"/>
            <a:ext cx="5358750" cy="2226732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 lnSpcReduction="10000"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3687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Knust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Glass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ransporteres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fra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NG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itt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Anlegg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l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Glava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itt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grovlager</a:t>
            </a:r>
            <a:endParaRPr lang="en-US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293687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Finknuses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l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må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partikler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0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l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8 mm.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Fremmedlegemer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orteres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ut.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</a:p>
          <a:p>
            <a:pPr marL="293687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Finknust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glass mates inn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om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råvare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i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melteprosess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og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blir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il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y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Isolasjon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.</a:t>
            </a:r>
          </a:p>
          <a:p>
            <a:pPr marL="293687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Godt over 50 % av Glava sine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råvarer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er </a:t>
            </a:r>
            <a:r>
              <a:rPr lang="en-US" b="1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materialgjenvunnet</a:t>
            </a:r>
            <a:r>
              <a:rPr lang="en-US" b="1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glass</a:t>
            </a:r>
          </a:p>
          <a:p>
            <a:pPr marL="293687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="1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293687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477EA82-3817-225F-68A5-A92F1536470F}"/>
              </a:ext>
            </a:extLst>
          </p:cNvPr>
          <p:cNvSpPr txBox="1">
            <a:spLocks/>
          </p:cNvSpPr>
          <p:nvPr/>
        </p:nvSpPr>
        <p:spPr>
          <a:xfrm>
            <a:off x="3945689" y="4156667"/>
            <a:ext cx="2140622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>
              <a:latin typeface="+mj-lt"/>
              <a:ea typeface="+mj-ea"/>
              <a:cs typeface="+mj-cs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44D33BC9-B4F1-521F-6181-005EBE52F7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5796" y="4084563"/>
            <a:ext cx="5120537" cy="2414917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8B22AB7-C89E-1D5A-CA8C-C00AEF5B2537}"/>
              </a:ext>
            </a:extLst>
          </p:cNvPr>
          <p:cNvSpPr txBox="1">
            <a:spLocks/>
          </p:cNvSpPr>
          <p:nvPr/>
        </p:nvSpPr>
        <p:spPr>
          <a:xfrm>
            <a:off x="8487477" y="4152297"/>
            <a:ext cx="2233531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2B0F84E-858E-E138-498E-84EBA0F2B6DD}"/>
              </a:ext>
            </a:extLst>
          </p:cNvPr>
          <p:cNvSpPr txBox="1">
            <a:spLocks/>
          </p:cNvSpPr>
          <p:nvPr/>
        </p:nvSpPr>
        <p:spPr>
          <a:xfrm>
            <a:off x="6216753" y="4156667"/>
            <a:ext cx="2160078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b="1" dirty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506707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kstSylinder 8"/>
          <p:cNvSpPr txBox="1"/>
          <p:nvPr/>
        </p:nvSpPr>
        <p:spPr>
          <a:xfrm>
            <a:off x="1999164" y="3466327"/>
            <a:ext cx="8447493" cy="175432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</p:txBody>
      </p:sp>
      <p:sp>
        <p:nvSpPr>
          <p:cNvPr id="18" name="TekstSylinder 17"/>
          <p:cNvSpPr txBox="1"/>
          <p:nvPr/>
        </p:nvSpPr>
        <p:spPr>
          <a:xfrm>
            <a:off x="2005734" y="5315728"/>
            <a:ext cx="8447493" cy="147732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r>
              <a:rPr lang="nb-NO" b="1" dirty="0">
                <a:solidFill>
                  <a:prstClr val="black"/>
                </a:solidFill>
              </a:rPr>
              <a:t> 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59" t="24610" r="20859" b="32078"/>
          <a:stretch/>
        </p:blipFill>
        <p:spPr>
          <a:xfrm>
            <a:off x="2097261" y="3604262"/>
            <a:ext cx="3196446" cy="1478456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878" t="54139" r="23626" b="17314"/>
          <a:stretch/>
        </p:blipFill>
        <p:spPr>
          <a:xfrm rot="1052384">
            <a:off x="2489321" y="1459509"/>
            <a:ext cx="1713579" cy="177477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225041" y="418571"/>
            <a:ext cx="10218506" cy="403755"/>
          </a:xfrm>
        </p:spPr>
        <p:txBody>
          <a:bodyPr>
            <a:noAutofit/>
          </a:bodyPr>
          <a:lstStyle/>
          <a:p>
            <a:r>
              <a:rPr lang="nb-NO" sz="2400" dirty="0"/>
              <a:t>Enklere og mer effektiv hverdag for våre kunder med digitale kanaler og nettbaserte løsninger</a:t>
            </a:r>
          </a:p>
        </p:txBody>
      </p:sp>
      <p:sp>
        <p:nvSpPr>
          <p:cNvPr id="7" name="TekstSylinder 6"/>
          <p:cNvSpPr txBox="1"/>
          <p:nvPr/>
        </p:nvSpPr>
        <p:spPr>
          <a:xfrm>
            <a:off x="5293707" y="1548353"/>
            <a:ext cx="5015246" cy="1569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b="1" dirty="0">
                <a:solidFill>
                  <a:prstClr val="black"/>
                </a:solidFill>
              </a:rPr>
              <a:t>Bestillingsløsning for web/</a:t>
            </a:r>
            <a:r>
              <a:rPr lang="nb-NO" sz="1600" b="1" dirty="0" err="1">
                <a:solidFill>
                  <a:prstClr val="black"/>
                </a:solidFill>
              </a:rPr>
              <a:t>app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Tømminger og utsett er bare et tastetrykk un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Sikkert, effektivt og gir sporbarh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Se full historikk på tidligere bestill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Bestill når det passer deg, tilgjengelig hele døgn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Tilpasset alle typer nettbrett, telefoner og PC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5293708" y="3651164"/>
            <a:ext cx="5015246" cy="13234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b="1" dirty="0">
                <a:solidFill>
                  <a:prstClr val="black"/>
                </a:solidFill>
              </a:rPr>
              <a:t>Kundeservice på web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Kundeservice tilgjengelig på NG-netts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Sikkert, effektivt og gir sporbarh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Kontakt oss når det passer deg, tilgjengelig hele døgnet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06871" y="5368673"/>
            <a:ext cx="2001486" cy="1106084"/>
          </a:xfrm>
          <a:prstGeom prst="rect">
            <a:avLst/>
          </a:prstGeom>
        </p:spPr>
      </p:pic>
      <p:sp>
        <p:nvSpPr>
          <p:cNvPr id="17" name="TekstSylinder 16"/>
          <p:cNvSpPr txBox="1"/>
          <p:nvPr/>
        </p:nvSpPr>
        <p:spPr>
          <a:xfrm>
            <a:off x="5293707" y="5414943"/>
            <a:ext cx="5015246" cy="13234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600" b="1" dirty="0">
                <a:solidFill>
                  <a:prstClr val="black"/>
                </a:solidFill>
              </a:rPr>
              <a:t>Nettbutikk med kildesorteringsutstyr </a:t>
            </a:r>
            <a:endParaRPr lang="nb-NO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Enkel bestilling av kildesorteringsutstyr og forbruks-</a:t>
            </a:r>
          </a:p>
          <a:p>
            <a:r>
              <a:rPr lang="nb-NO" sz="1600" dirty="0"/>
              <a:t>      materiell (sekker, poser, stativ mv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>
                <a:hlinkClick r:id="rId6"/>
              </a:rPr>
              <a:t>www.ngbutikken.no</a:t>
            </a:r>
            <a:r>
              <a:rPr lang="nb-NO" sz="1600" dirty="0"/>
              <a:t> 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1999163" y="1317522"/>
            <a:ext cx="8447493" cy="2031325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  <a:p>
            <a:endParaRPr lang="nb-NO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8799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estillingsrutiner</a:t>
            </a:r>
            <a:endParaRPr lang="nb-NO" dirty="0"/>
          </a:p>
        </p:txBody>
      </p:sp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8B2D2E86-7CDE-4AA0-8072-F8BF38D9D1AE}"/>
              </a:ext>
            </a:extLst>
          </p:cNvPr>
          <p:cNvSpPr txBox="1">
            <a:spLocks/>
          </p:cNvSpPr>
          <p:nvPr/>
        </p:nvSpPr>
        <p:spPr>
          <a:xfrm>
            <a:off x="499207" y="2013778"/>
            <a:ext cx="4853473" cy="4351338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Telefon: 09700</a:t>
            </a:r>
          </a:p>
          <a:p>
            <a:r>
              <a:rPr lang="nb-NO" dirty="0"/>
              <a:t>Mail: </a:t>
            </a:r>
            <a:r>
              <a:rPr lang="nb-NO" dirty="0">
                <a:hlinkClick r:id="rId2"/>
              </a:rPr>
              <a:t>kundeservice@ngn.no</a:t>
            </a:r>
            <a:r>
              <a:rPr lang="nb-NO" dirty="0"/>
              <a:t> </a:t>
            </a:r>
          </a:p>
          <a:p>
            <a:r>
              <a:rPr lang="nb-NO" dirty="0"/>
              <a:t>Påkrevd info ved bestilling:</a:t>
            </a:r>
          </a:p>
          <a:p>
            <a:pPr lvl="1"/>
            <a:r>
              <a:rPr lang="nb-NO" dirty="0"/>
              <a:t>Prosjektnummer</a:t>
            </a:r>
          </a:p>
          <a:p>
            <a:pPr lvl="1"/>
            <a:r>
              <a:rPr lang="nb-NO" dirty="0"/>
              <a:t>Hente adresse</a:t>
            </a:r>
          </a:p>
          <a:p>
            <a:pPr lvl="1"/>
            <a:r>
              <a:rPr lang="nb-NO" dirty="0"/>
              <a:t>Type utstyr</a:t>
            </a:r>
          </a:p>
          <a:p>
            <a:pPr lvl="1"/>
            <a:r>
              <a:rPr lang="nb-NO" dirty="0"/>
              <a:t>Type avfall</a:t>
            </a:r>
          </a:p>
          <a:p>
            <a:pPr lvl="1"/>
            <a:endParaRPr lang="nb-NO" dirty="0"/>
          </a:p>
          <a:p>
            <a:pPr marL="457200" lvl="1" indent="0">
              <a:buNone/>
            </a:pPr>
            <a:r>
              <a:rPr lang="nb-NO" dirty="0">
                <a:hlinkClick r:id="rId3"/>
              </a:rPr>
              <a:t>kjemikerpavei@ngn.no</a:t>
            </a:r>
            <a:r>
              <a:rPr lang="nb-NO" dirty="0"/>
              <a:t> for farlig avfall</a:t>
            </a:r>
          </a:p>
          <a:p>
            <a:pPr marL="457200" lvl="1" indent="0">
              <a:buNone/>
            </a:pPr>
            <a:endParaRPr lang="nb-NO" dirty="0"/>
          </a:p>
          <a:p>
            <a:pPr marL="457200" lvl="1" indent="0">
              <a:buNone/>
            </a:pPr>
            <a:r>
              <a:rPr lang="nb-NO" dirty="0"/>
              <a:t>Smartsekk </a:t>
            </a:r>
            <a:r>
              <a:rPr lang="nb-NO" dirty="0">
                <a:hlinkClick r:id="rId4"/>
              </a:rPr>
              <a:t>https://www.ngbutikken.no/produkter/smartsekk/smartsekk/c-24/c-120/p-1529</a:t>
            </a:r>
            <a:r>
              <a:rPr lang="nb-NO" dirty="0"/>
              <a:t> 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61769641-64B7-4CF0-A16D-B7E51D7506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59566" y="2878428"/>
            <a:ext cx="6077253" cy="3979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1829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5F5E5EA-0760-F783-E512-9F052CF2B7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80" cy="6858000"/>
          </a:xfrm>
          <a:custGeom>
            <a:avLst/>
            <a:gdLst>
              <a:gd name="connsiteX0" fmla="*/ 0 w 12192000"/>
              <a:gd name="connsiteY0" fmla="*/ 0 h 6858000"/>
              <a:gd name="connsiteX1" fmla="*/ 479424 w 12192000"/>
              <a:gd name="connsiteY1" fmla="*/ 0 h 6858000"/>
              <a:gd name="connsiteX2" fmla="*/ 479424 w 12192000"/>
              <a:gd name="connsiteY2" fmla="*/ 1849120 h 6858000"/>
              <a:gd name="connsiteX3" fmla="*/ 1959715 w 12192000"/>
              <a:gd name="connsiteY3" fmla="*/ 1849120 h 6858000"/>
              <a:gd name="connsiteX4" fmla="*/ 1959715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479424" y="0"/>
                </a:lnTo>
                <a:lnTo>
                  <a:pt x="479424" y="1849120"/>
                </a:lnTo>
                <a:lnTo>
                  <a:pt x="1959715" y="1849120"/>
                </a:lnTo>
                <a:lnTo>
                  <a:pt x="1959715" y="0"/>
                </a:ln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ABDD8943-E38F-C233-D067-C0A874C35C7A}"/>
              </a:ext>
            </a:extLst>
          </p:cNvPr>
          <p:cNvSpPr txBox="1"/>
          <p:nvPr/>
        </p:nvSpPr>
        <p:spPr>
          <a:xfrm>
            <a:off x="5630333" y="2785534"/>
            <a:ext cx="6366933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Ta kontakt for spørsmål om glass til materialgjenvinning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B256BD7-5C00-17EB-796C-A8623FD9A880}"/>
              </a:ext>
            </a:extLst>
          </p:cNvPr>
          <p:cNvSpPr txBox="1"/>
          <p:nvPr/>
        </p:nvSpPr>
        <p:spPr>
          <a:xfrm>
            <a:off x="5630333" y="3606800"/>
            <a:ext cx="6366933" cy="92333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Jørn Viggo Lofstad</a:t>
            </a:r>
          </a:p>
          <a:p>
            <a:r>
              <a:rPr lang="nb-NO" dirty="0">
                <a:solidFill>
                  <a:schemeClr val="bg1"/>
                </a:solidFill>
              </a:rPr>
              <a:t>97058874</a:t>
            </a:r>
          </a:p>
          <a:p>
            <a:r>
              <a:rPr lang="nb-NO" dirty="0">
                <a:solidFill>
                  <a:schemeClr val="bg1"/>
                </a:solidFill>
              </a:rPr>
              <a:t>Jorn.viggo.lofstad@ngn.no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985D90CA-DCCA-BED2-3663-1886C422907E}"/>
              </a:ext>
            </a:extLst>
          </p:cNvPr>
          <p:cNvSpPr txBox="1"/>
          <p:nvPr/>
        </p:nvSpPr>
        <p:spPr>
          <a:xfrm>
            <a:off x="5630333" y="1936376"/>
            <a:ext cx="6366933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Glassfagkjeden har rammeavtale hos Norsk Gjenvinning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7EF26798-DBBE-AEBF-ABAB-EFE075E34D81}"/>
              </a:ext>
            </a:extLst>
          </p:cNvPr>
          <p:cNvSpPr txBox="1"/>
          <p:nvPr/>
        </p:nvSpPr>
        <p:spPr>
          <a:xfrm>
            <a:off x="5630333" y="4778188"/>
            <a:ext cx="636693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3" tooltip="https://www.glava.no/aktuelt/slik-blir-glass-til-isolasjon"/>
              </a:rPr>
              <a:t>https://www.glava.no/aktuelt/slik-blir-glass-til-isolasj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77343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vann, gjennomsiktig materiale, væske, plast&#10;&#10;Automatisk generert beskrivelse">
            <a:extLst>
              <a:ext uri="{FF2B5EF4-FFF2-40B4-BE49-F238E27FC236}">
                <a16:creationId xmlns:a16="http://schemas.microsoft.com/office/drawing/2014/main" id="{813B28AE-A3BE-F02B-1CB7-322259BCABC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8965"/>
            <a:ext cx="12191980" cy="6858000"/>
          </a:xfrm>
          <a:custGeom>
            <a:avLst/>
            <a:gdLst>
              <a:gd name="connsiteX0" fmla="*/ 479424 w 12192000"/>
              <a:gd name="connsiteY0" fmla="*/ 1 h 6858000"/>
              <a:gd name="connsiteX1" fmla="*/ 479424 w 12192000"/>
              <a:gd name="connsiteY1" fmla="*/ 854422 h 6858000"/>
              <a:gd name="connsiteX2" fmla="*/ 1163424 w 12192000"/>
              <a:gd name="connsiteY2" fmla="*/ 854422 h 6858000"/>
              <a:gd name="connsiteX3" fmla="*/ 1163424 w 12192000"/>
              <a:gd name="connsiteY3" fmla="*/ 1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79424" y="1"/>
                </a:moveTo>
                <a:lnTo>
                  <a:pt x="479424" y="854422"/>
                </a:lnTo>
                <a:lnTo>
                  <a:pt x="1163424" y="854422"/>
                </a:lnTo>
                <a:lnTo>
                  <a:pt x="1163424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48BD85E8-AA9A-7153-7E44-DB194D3EC0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5490" y="1"/>
            <a:ext cx="3205872" cy="1651000"/>
          </a:xfrm>
        </p:spPr>
        <p:txBody>
          <a:bodyPr/>
          <a:lstStyle/>
          <a:p>
            <a:r>
              <a:rPr lang="en-US" dirty="0"/>
              <a:t>Glass og </a:t>
            </a:r>
            <a:r>
              <a:rPr lang="en-US" dirty="0" err="1"/>
              <a:t>vinduer</a:t>
            </a:r>
            <a:r>
              <a:rPr lang="en-US" dirty="0"/>
              <a:t> NG Trøndelag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E29314C8-3EE4-D5C0-FD11-B4473562CD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72556" y="1651001"/>
            <a:ext cx="3205872" cy="5206999"/>
          </a:xfrm>
        </p:spPr>
        <p:txBody>
          <a:bodyPr/>
          <a:lstStyle/>
          <a:p>
            <a:r>
              <a:rPr lang="en-US" dirty="0"/>
              <a:t>Ca. 120 </a:t>
            </a:r>
            <a:r>
              <a:rPr lang="en-US" dirty="0" err="1"/>
              <a:t>ton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nd</a:t>
            </a:r>
            <a:r>
              <a:rPr lang="en-US" dirty="0"/>
              <a:t>.</a:t>
            </a:r>
          </a:p>
          <a:p>
            <a:r>
              <a:rPr lang="en-US" dirty="0" err="1"/>
              <a:t>Isolerglass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materialgjenvinning</a:t>
            </a:r>
            <a:endParaRPr lang="en-US" dirty="0"/>
          </a:p>
          <a:p>
            <a:r>
              <a:rPr lang="en-US" dirty="0"/>
              <a:t>Glass med </a:t>
            </a:r>
            <a:r>
              <a:rPr lang="en-US" dirty="0" err="1"/>
              <a:t>aluspacer</a:t>
            </a:r>
            <a:endParaRPr lang="en-US" dirty="0"/>
          </a:p>
          <a:p>
            <a:r>
              <a:rPr lang="en-US" dirty="0"/>
              <a:t>Glass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treramme</a:t>
            </a:r>
            <a:endParaRPr lang="en-US" dirty="0"/>
          </a:p>
          <a:p>
            <a:r>
              <a:rPr lang="en-US" dirty="0"/>
              <a:t>Rent </a:t>
            </a:r>
            <a:r>
              <a:rPr lang="en-US" dirty="0" err="1"/>
              <a:t>Planglass</a:t>
            </a:r>
            <a:endParaRPr lang="en-US" dirty="0"/>
          </a:p>
          <a:p>
            <a:r>
              <a:rPr lang="en-US" dirty="0" err="1"/>
              <a:t>Knust</a:t>
            </a:r>
            <a:r>
              <a:rPr lang="en-US" dirty="0"/>
              <a:t> glass</a:t>
            </a:r>
          </a:p>
          <a:p>
            <a:r>
              <a:rPr lang="en-US" dirty="0" err="1"/>
              <a:t>Dusjkabinett</a:t>
            </a:r>
            <a:r>
              <a:rPr lang="en-US" dirty="0"/>
              <a:t>, </a:t>
            </a:r>
            <a:r>
              <a:rPr lang="en-US" dirty="0" err="1"/>
              <a:t>stuebord</a:t>
            </a:r>
            <a:r>
              <a:rPr lang="en-US" dirty="0"/>
              <a:t> </a:t>
            </a:r>
            <a:r>
              <a:rPr lang="en-US" dirty="0" err="1"/>
              <a:t>ol</a:t>
            </a:r>
            <a:r>
              <a:rPr lang="en-US" dirty="0"/>
              <a:t> rent.</a:t>
            </a:r>
          </a:p>
          <a:p>
            <a:r>
              <a:rPr lang="en-US" dirty="0"/>
              <a:t>Rent </a:t>
            </a:r>
            <a:r>
              <a:rPr lang="en-US" dirty="0" err="1"/>
              <a:t>Laminert</a:t>
            </a:r>
            <a:r>
              <a:rPr lang="en-US" dirty="0"/>
              <a:t> glass</a:t>
            </a:r>
          </a:p>
          <a:p>
            <a:r>
              <a:rPr lang="en-US" dirty="0" err="1"/>
              <a:t>Bilvinduer</a:t>
            </a:r>
            <a:r>
              <a:rPr lang="en-US" dirty="0"/>
              <a:t> via NG </a:t>
            </a:r>
            <a:r>
              <a:rPr lang="en-US" dirty="0" err="1"/>
              <a:t>Østfold</a:t>
            </a:r>
            <a:endParaRPr lang="en-US" dirty="0"/>
          </a:p>
          <a:p>
            <a:r>
              <a:rPr lang="en-US" b="1" i="1" dirty="0" err="1"/>
              <a:t>Ikke</a:t>
            </a:r>
            <a:r>
              <a:rPr lang="en-US" i="1" dirty="0"/>
              <a:t> </a:t>
            </a:r>
            <a:r>
              <a:rPr lang="en-US" i="1" dirty="0" err="1"/>
              <a:t>speilglass</a:t>
            </a:r>
            <a:r>
              <a:rPr lang="en-US" i="1" dirty="0"/>
              <a:t>, </a:t>
            </a:r>
            <a:r>
              <a:rPr lang="en-US" i="1" dirty="0" err="1"/>
              <a:t>trådglass,keramikk</a:t>
            </a:r>
            <a:r>
              <a:rPr lang="en-US" i="1" dirty="0"/>
              <a:t>, stein, </a:t>
            </a:r>
            <a:r>
              <a:rPr lang="en-US" i="1" dirty="0" err="1"/>
              <a:t>porselen</a:t>
            </a:r>
            <a:r>
              <a:rPr lang="en-US" i="1" dirty="0"/>
              <a:t>, </a:t>
            </a:r>
            <a:r>
              <a:rPr lang="en-US" i="1" dirty="0" err="1"/>
              <a:t>blyglass</a:t>
            </a:r>
            <a:r>
              <a:rPr lang="en-US" i="1" dirty="0"/>
              <a:t> og </a:t>
            </a:r>
            <a:r>
              <a:rPr lang="en-US" i="1" dirty="0" err="1"/>
              <a:t>ovnsglass</a:t>
            </a:r>
            <a:r>
              <a:rPr lang="en-US" i="1" dirty="0"/>
              <a:t> (</a:t>
            </a:r>
            <a:r>
              <a:rPr lang="en-US" i="1" dirty="0" err="1"/>
              <a:t>varmebestandig</a:t>
            </a:r>
            <a:r>
              <a:rPr lang="en-US" i="1" dirty="0"/>
              <a:t>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046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 descr="Et bilde som inneholder grunn, utendørs, singel, grå&#10;&#10;Automatisk generert beskrivelse">
            <a:extLst>
              <a:ext uri="{FF2B5EF4-FFF2-40B4-BE49-F238E27FC236}">
                <a16:creationId xmlns:a16="http://schemas.microsoft.com/office/drawing/2014/main" id="{6D24BF18-CF56-D6E1-BC04-F7DE2764D3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4D5D9C4-4E19-4F19-03A7-BAF8919B4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069166"/>
            <a:ext cx="11233150" cy="490003"/>
          </a:xfrm>
        </p:spPr>
        <p:txBody>
          <a:bodyPr/>
          <a:lstStyle/>
          <a:p>
            <a:pPr algn="ctr"/>
            <a:r>
              <a:rPr lang="en-US" dirty="0" err="1"/>
              <a:t>Prosess</a:t>
            </a:r>
            <a:r>
              <a:rPr lang="en-US" dirty="0"/>
              <a:t> </a:t>
            </a:r>
            <a:r>
              <a:rPr lang="en-US" dirty="0" err="1"/>
              <a:t>isolerglassruter</a:t>
            </a:r>
            <a:endParaRPr lang="en-US" dirty="0"/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C8367BB4-BEE6-FA4F-C45B-456CB310FB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6831" y="1925544"/>
            <a:ext cx="2160000" cy="2160000"/>
          </a:xfrm>
          <a:prstGeom prst="roundRect">
            <a:avLst/>
          </a:prstGeom>
          <a:noFill/>
        </p:spPr>
      </p:pic>
      <p:pic>
        <p:nvPicPr>
          <p:cNvPr id="4" name="Plassholder for innhold 3">
            <a:extLst>
              <a:ext uri="{FF2B5EF4-FFF2-40B4-BE49-F238E27FC236}">
                <a16:creationId xmlns:a16="http://schemas.microsoft.com/office/drawing/2014/main" id="{F27A6A47-B040-0B81-9C44-D6C6CCB8BFC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6581" y="1925544"/>
            <a:ext cx="2160000" cy="2160000"/>
          </a:xfrm>
          <a:prstGeom prst="roundRect">
            <a:avLst/>
          </a:prstGeom>
          <a:noFill/>
        </p:spPr>
      </p:pic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DFAC586-41E0-F461-563C-5F41AE9A34CC}"/>
              </a:ext>
            </a:extLst>
          </p:cNvPr>
          <p:cNvSpPr txBox="1">
            <a:spLocks/>
          </p:cNvSpPr>
          <p:nvPr/>
        </p:nvSpPr>
        <p:spPr>
          <a:xfrm>
            <a:off x="1638857" y="4156667"/>
            <a:ext cx="2176312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 err="1">
                <a:latin typeface="+mj-lt"/>
                <a:ea typeface="+mj-ea"/>
                <a:cs typeface="+mj-cs"/>
              </a:rPr>
              <a:t>Isolerglass</a:t>
            </a: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477EA82-3817-225F-68A5-A92F1536470F}"/>
              </a:ext>
            </a:extLst>
          </p:cNvPr>
          <p:cNvSpPr txBox="1">
            <a:spLocks/>
          </p:cNvSpPr>
          <p:nvPr/>
        </p:nvSpPr>
        <p:spPr>
          <a:xfrm>
            <a:off x="3945689" y="4156667"/>
            <a:ext cx="2140622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 err="1">
                <a:latin typeface="+mj-lt"/>
                <a:ea typeface="+mj-ea"/>
                <a:cs typeface="+mj-cs"/>
              </a:rPr>
              <a:t>Knusebord</a:t>
            </a: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8B22AB7-C89E-1D5A-CA8C-C00AEF5B2537}"/>
              </a:ext>
            </a:extLst>
          </p:cNvPr>
          <p:cNvSpPr txBox="1">
            <a:spLocks/>
          </p:cNvSpPr>
          <p:nvPr/>
        </p:nvSpPr>
        <p:spPr>
          <a:xfrm>
            <a:off x="8487477" y="4152297"/>
            <a:ext cx="2233531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 err="1">
                <a:latin typeface="+mj-lt"/>
                <a:ea typeface="+mj-ea"/>
                <a:cs typeface="+mj-cs"/>
              </a:rPr>
              <a:t>Materialgjenvinning</a:t>
            </a:r>
            <a:endParaRPr lang="en-US" b="1" dirty="0">
              <a:latin typeface="+mj-lt"/>
              <a:ea typeface="+mj-ea"/>
              <a:cs typeface="+mj-cs"/>
            </a:endParaRP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2B0F84E-858E-E138-498E-84EBA0F2B6DD}"/>
              </a:ext>
            </a:extLst>
          </p:cNvPr>
          <p:cNvSpPr txBox="1">
            <a:spLocks/>
          </p:cNvSpPr>
          <p:nvPr/>
        </p:nvSpPr>
        <p:spPr>
          <a:xfrm>
            <a:off x="6216753" y="4156667"/>
            <a:ext cx="2160078" cy="600075"/>
          </a:xfrm>
          <a:prstGeom prst="rect">
            <a:avLst/>
          </a:prstGeom>
        </p:spPr>
        <p:txBody>
          <a:bodyPr vert="horz" lIns="144000" tIns="45720" rIns="144000" bIns="45720" rtlCol="0" anchor="ctr">
            <a:normAutofit/>
          </a:bodyPr>
          <a:lstStyle>
            <a:lvl1pPr marL="7937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>
                <a:latin typeface="+mj-lt"/>
                <a:ea typeface="+mj-ea"/>
                <a:cs typeface="+mj-cs"/>
              </a:rPr>
              <a:t>Glass</a:t>
            </a:r>
          </a:p>
        </p:txBody>
      </p:sp>
      <p:sp>
        <p:nvSpPr>
          <p:cNvPr id="24" name="Pil: høyre 23">
            <a:extLst>
              <a:ext uri="{FF2B5EF4-FFF2-40B4-BE49-F238E27FC236}">
                <a16:creationId xmlns:a16="http://schemas.microsoft.com/office/drawing/2014/main" id="{29EB046B-64A9-A4C9-A10B-AE913B4845F7}"/>
              </a:ext>
            </a:extLst>
          </p:cNvPr>
          <p:cNvSpPr/>
          <p:nvPr/>
        </p:nvSpPr>
        <p:spPr>
          <a:xfrm>
            <a:off x="8174296" y="2811369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1D84098-940A-3F5B-62E6-26D5E431D98D}"/>
              </a:ext>
            </a:extLst>
          </p:cNvPr>
          <p:cNvSpPr txBox="1"/>
          <p:nvPr/>
        </p:nvSpPr>
        <p:spPr>
          <a:xfrm>
            <a:off x="4692966" y="5856759"/>
            <a:ext cx="3758327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Avfall</a:t>
            </a:r>
          </a:p>
        </p:txBody>
      </p:sp>
      <p:sp>
        <p:nvSpPr>
          <p:cNvPr id="7" name="Pil: høyre 6">
            <a:extLst>
              <a:ext uri="{FF2B5EF4-FFF2-40B4-BE49-F238E27FC236}">
                <a16:creationId xmlns:a16="http://schemas.microsoft.com/office/drawing/2014/main" id="{CA6C629E-4EA0-C0F0-4F42-7F950623B851}"/>
              </a:ext>
            </a:extLst>
          </p:cNvPr>
          <p:cNvSpPr/>
          <p:nvPr/>
        </p:nvSpPr>
        <p:spPr>
          <a:xfrm>
            <a:off x="6958476" y="4973504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6E2B9178-95FB-8AB2-3369-256FC63CBE99}"/>
              </a:ext>
            </a:extLst>
          </p:cNvPr>
          <p:cNvSpPr txBox="1"/>
          <p:nvPr/>
        </p:nvSpPr>
        <p:spPr>
          <a:xfrm>
            <a:off x="5648072" y="5834634"/>
            <a:ext cx="6096000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Forbrenning</a:t>
            </a:r>
            <a:endParaRPr lang="en-US" sz="16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C8317D8-1FF3-39C4-5FDB-40D6D75F5987}"/>
              </a:ext>
            </a:extLst>
          </p:cNvPr>
          <p:cNvSpPr txBox="1"/>
          <p:nvPr/>
        </p:nvSpPr>
        <p:spPr>
          <a:xfrm>
            <a:off x="4618504" y="5023812"/>
            <a:ext cx="3758327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etaller</a:t>
            </a:r>
            <a:endParaRPr lang="en-US" sz="16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10188ECB-0963-BD7D-781F-0553A32EB209}"/>
              </a:ext>
            </a:extLst>
          </p:cNvPr>
          <p:cNvSpPr txBox="1"/>
          <p:nvPr/>
        </p:nvSpPr>
        <p:spPr>
          <a:xfrm>
            <a:off x="5960903" y="5003908"/>
            <a:ext cx="6096000" cy="3139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937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00" dirty="0" err="1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Materialgjenvinning</a:t>
            </a:r>
            <a:endParaRPr lang="en-US" sz="160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9" name="Grafikk 28" descr="Produksjon med heldekkende fyll">
            <a:extLst>
              <a:ext uri="{FF2B5EF4-FFF2-40B4-BE49-F238E27FC236}">
                <a16:creationId xmlns:a16="http://schemas.microsoft.com/office/drawing/2014/main" id="{6EA632A3-4025-6FC7-FAEC-EAC40E72BD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39319" y="5691562"/>
            <a:ext cx="600076" cy="600076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B60B3CD6-6757-2220-C77B-121F95EBB58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36000" y="1938935"/>
            <a:ext cx="2160000" cy="2160000"/>
          </a:xfrm>
          <a:prstGeom prst="roundRect">
            <a:avLst/>
          </a:prstGeom>
          <a:noFill/>
        </p:spPr>
      </p:pic>
      <p:pic>
        <p:nvPicPr>
          <p:cNvPr id="31" name="Grafikk 30" descr="Resirkuler med heldekkende fyll">
            <a:extLst>
              <a:ext uri="{FF2B5EF4-FFF2-40B4-BE49-F238E27FC236}">
                <a16:creationId xmlns:a16="http://schemas.microsoft.com/office/drawing/2014/main" id="{3BA80095-22F3-5B94-A15B-C4A26BE2A2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439319" y="4866897"/>
            <a:ext cx="600076" cy="600076"/>
          </a:xfrm>
          <a:prstGeom prst="rect">
            <a:avLst/>
          </a:prstGeom>
        </p:spPr>
      </p:pic>
      <p:sp>
        <p:nvSpPr>
          <p:cNvPr id="32" name="Pil: høyre 31">
            <a:extLst>
              <a:ext uri="{FF2B5EF4-FFF2-40B4-BE49-F238E27FC236}">
                <a16:creationId xmlns:a16="http://schemas.microsoft.com/office/drawing/2014/main" id="{5B69C7FE-E6A0-6DAD-AB79-998889F8FA68}"/>
              </a:ext>
            </a:extLst>
          </p:cNvPr>
          <p:cNvSpPr/>
          <p:nvPr/>
        </p:nvSpPr>
        <p:spPr>
          <a:xfrm>
            <a:off x="6958476" y="5815682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3" name="Pil: høyre 32">
            <a:extLst>
              <a:ext uri="{FF2B5EF4-FFF2-40B4-BE49-F238E27FC236}">
                <a16:creationId xmlns:a16="http://schemas.microsoft.com/office/drawing/2014/main" id="{1D171B78-60DF-0783-983A-E89C1F10657A}"/>
              </a:ext>
            </a:extLst>
          </p:cNvPr>
          <p:cNvSpPr/>
          <p:nvPr/>
        </p:nvSpPr>
        <p:spPr>
          <a:xfrm rot="4123599">
            <a:off x="5746633" y="3961097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Pil: høyre 22">
            <a:extLst>
              <a:ext uri="{FF2B5EF4-FFF2-40B4-BE49-F238E27FC236}">
                <a16:creationId xmlns:a16="http://schemas.microsoft.com/office/drawing/2014/main" id="{D1F6829B-1367-FA20-6553-49193592620D}"/>
              </a:ext>
            </a:extLst>
          </p:cNvPr>
          <p:cNvSpPr/>
          <p:nvPr/>
        </p:nvSpPr>
        <p:spPr>
          <a:xfrm>
            <a:off x="5897273" y="2811369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1BCD0356-2F79-A15B-F020-082977AF67F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5169" y="1929914"/>
            <a:ext cx="2160000" cy="2160000"/>
          </a:xfrm>
          <a:prstGeom prst="roundRect">
            <a:avLst/>
          </a:prstGeom>
          <a:noFill/>
        </p:spPr>
      </p:pic>
      <p:sp>
        <p:nvSpPr>
          <p:cNvPr id="21" name="Pil: høyre 20">
            <a:extLst>
              <a:ext uri="{FF2B5EF4-FFF2-40B4-BE49-F238E27FC236}">
                <a16:creationId xmlns:a16="http://schemas.microsoft.com/office/drawing/2014/main" id="{52C381A3-153F-C5EF-E048-D94458CCC83F}"/>
              </a:ext>
            </a:extLst>
          </p:cNvPr>
          <p:cNvSpPr/>
          <p:nvPr/>
        </p:nvSpPr>
        <p:spPr>
          <a:xfrm>
            <a:off x="3621278" y="2815739"/>
            <a:ext cx="439616" cy="38686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0428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bilde 5" descr="Et bilde som inneholder datamaskin, innendørs&#10;&#10;Automatisk generert beskrivelse">
            <a:extLst>
              <a:ext uri="{FF2B5EF4-FFF2-40B4-BE49-F238E27FC236}">
                <a16:creationId xmlns:a16="http://schemas.microsoft.com/office/drawing/2014/main" id="{BB4FE0BA-5680-8246-FF42-F0B765E5D48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ECF9E9-9B09-19E0-F4D3-AA5C427D4F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5490" y="0"/>
            <a:ext cx="3205872" cy="2090057"/>
          </a:xfrm>
        </p:spPr>
        <p:txBody>
          <a:bodyPr/>
          <a:lstStyle/>
          <a:p>
            <a:r>
              <a:rPr lang="en-US" dirty="0" err="1"/>
              <a:t>Isolerglassvinduer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05E2E1F-0538-E130-D745-791A7970E9F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72556" y="2089356"/>
            <a:ext cx="3205872" cy="4768644"/>
          </a:xfrm>
        </p:spPr>
        <p:txBody>
          <a:bodyPr/>
          <a:lstStyle/>
          <a:p>
            <a:r>
              <a:rPr lang="en-US" dirty="0" err="1"/>
              <a:t>Mottakskontroll</a:t>
            </a:r>
            <a:r>
              <a:rPr lang="en-US" dirty="0"/>
              <a:t> </a:t>
            </a:r>
          </a:p>
          <a:p>
            <a:r>
              <a:rPr lang="en-US" dirty="0"/>
              <a:t>Hele </a:t>
            </a:r>
            <a:r>
              <a:rPr lang="en-US" dirty="0" err="1"/>
              <a:t>vinduer</a:t>
            </a:r>
            <a:endParaRPr lang="en-US" dirty="0"/>
          </a:p>
          <a:p>
            <a:r>
              <a:rPr lang="en-US" dirty="0"/>
              <a:t>Pall </a:t>
            </a:r>
            <a:r>
              <a:rPr lang="en-US" dirty="0" err="1"/>
              <a:t>eller</a:t>
            </a:r>
            <a:r>
              <a:rPr lang="en-US" dirty="0"/>
              <a:t> L-</a:t>
            </a:r>
            <a:r>
              <a:rPr lang="en-US" dirty="0" err="1"/>
              <a:t>stativ</a:t>
            </a:r>
            <a:endParaRPr lang="en-US" dirty="0"/>
          </a:p>
          <a:p>
            <a:r>
              <a:rPr lang="en-US" dirty="0" err="1"/>
              <a:t>Kontroll</a:t>
            </a:r>
            <a:r>
              <a:rPr lang="en-US" dirty="0"/>
              <a:t> </a:t>
            </a:r>
            <a:r>
              <a:rPr lang="en-US" dirty="0" err="1"/>
              <a:t>årstall</a:t>
            </a:r>
            <a:r>
              <a:rPr lang="en-US" dirty="0"/>
              <a:t> I </a:t>
            </a:r>
            <a:r>
              <a:rPr lang="en-US" dirty="0" err="1"/>
              <a:t>avstandslister</a:t>
            </a:r>
            <a:endParaRPr lang="en-US" dirty="0"/>
          </a:p>
          <a:p>
            <a:r>
              <a:rPr lang="en-US" dirty="0" err="1"/>
              <a:t>Analyser</a:t>
            </a:r>
            <a:r>
              <a:rPr lang="en-US" dirty="0"/>
              <a:t> </a:t>
            </a:r>
            <a:r>
              <a:rPr lang="en-US" dirty="0" err="1"/>
              <a:t>ved</a:t>
            </a:r>
            <a:r>
              <a:rPr lang="en-US" dirty="0"/>
              <a:t> </a:t>
            </a:r>
            <a:r>
              <a:rPr lang="en-US" dirty="0" err="1"/>
              <a:t>behov</a:t>
            </a:r>
            <a:endParaRPr lang="en-US" dirty="0"/>
          </a:p>
          <a:p>
            <a:r>
              <a:rPr lang="en-US" dirty="0" err="1"/>
              <a:t>Knust</a:t>
            </a:r>
            <a:r>
              <a:rPr lang="en-US" dirty="0"/>
              <a:t> glass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åpen</a:t>
            </a:r>
            <a:r>
              <a:rPr lang="en-US" dirty="0"/>
              <a:t> IBC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4115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114AABE8-CC2A-82AA-4EA1-658143CC28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uskeregler: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2F5CDAFA-4CEB-DF46-4929-3644C9513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bling av vinduer</a:t>
            </a:r>
            <a:br>
              <a:rPr lang="nb-NO" dirty="0"/>
            </a:br>
            <a:r>
              <a:rPr lang="nb-NO" dirty="0"/>
              <a:t>på stativ</a:t>
            </a:r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BFECF1C2-129A-1EEE-6A67-F9ABF9CB1FD7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nb-NO" dirty="0"/>
              <a:t>Størst er først</a:t>
            </a:r>
          </a:p>
          <a:p>
            <a:r>
              <a:rPr lang="nb-NO" dirty="0"/>
              <a:t>Én rad i høyden</a:t>
            </a:r>
          </a:p>
          <a:p>
            <a:r>
              <a:rPr lang="nb-NO" dirty="0"/>
              <a:t>Stables stående</a:t>
            </a:r>
          </a:p>
          <a:p>
            <a:r>
              <a:rPr lang="nb-NO" dirty="0"/>
              <a:t>Tiltes bakover</a:t>
            </a:r>
          </a:p>
          <a:p>
            <a:r>
              <a:rPr lang="nb-NO" dirty="0"/>
              <a:t>Karm mot karm, og glass mot glass</a:t>
            </a:r>
          </a:p>
          <a:p>
            <a:r>
              <a:rPr lang="nb-NO" dirty="0"/>
              <a:t>Karmer som er pakket inntil glass sikres med støtdempende mellomlegg (f.eks. papp eller tøy)</a:t>
            </a:r>
          </a:p>
          <a:p>
            <a:r>
              <a:rPr lang="nb-NO" dirty="0"/>
              <a:t>Totalvekt </a:t>
            </a:r>
            <a:r>
              <a:rPr lang="nb-NO" dirty="0" err="1"/>
              <a:t>ifht</a:t>
            </a:r>
            <a:r>
              <a:rPr lang="nb-NO" dirty="0"/>
              <a:t>. stativets sertifisering (spesielt ruter uten karm)</a:t>
            </a:r>
          </a:p>
          <a:p>
            <a:r>
              <a:rPr lang="nb-NO" dirty="0"/>
              <a:t>Dobbelstropping</a:t>
            </a:r>
          </a:p>
        </p:txBody>
      </p:sp>
      <p:pic>
        <p:nvPicPr>
          <p:cNvPr id="25" name="Plassholder for bilde 24" descr="Et bilde som inneholder grunn, utendørs, vindu, tre&#10;&#10;Automatisk generert beskrivelse">
            <a:extLst>
              <a:ext uri="{FF2B5EF4-FFF2-40B4-BE49-F238E27FC236}">
                <a16:creationId xmlns:a16="http://schemas.microsoft.com/office/drawing/2014/main" id="{EFF29846-2C7A-F9C9-3586-C6FCD26C4A98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5881688" y="577850"/>
            <a:ext cx="6045200" cy="5616575"/>
          </a:xfrm>
        </p:spPr>
      </p:pic>
    </p:spTree>
    <p:extLst>
      <p:ext uri="{BB962C8B-B14F-4D97-AF65-F5344CB8AC3E}">
        <p14:creationId xmlns:p14="http://schemas.microsoft.com/office/powerpoint/2010/main" val="28839846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114AABE8-CC2A-82AA-4EA1-658143CC28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uskeregler: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2F5CDAFA-4CEB-DF46-4929-3644C9513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bling av vinduer</a:t>
            </a:r>
            <a:br>
              <a:rPr lang="nb-NO" dirty="0"/>
            </a:br>
            <a:r>
              <a:rPr lang="nb-NO" dirty="0"/>
              <a:t>på pall</a:t>
            </a:r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BFECF1C2-129A-1EEE-6A67-F9ABF9CB1FD7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nb-NO" dirty="0"/>
              <a:t>Spikres fast i en kryssplanke</a:t>
            </a:r>
          </a:p>
          <a:p>
            <a:r>
              <a:rPr lang="nb-NO" dirty="0"/>
              <a:t>Ustabile lass sikres med doble </a:t>
            </a:r>
            <a:r>
              <a:rPr lang="nb-NO" dirty="0" err="1"/>
              <a:t>kryssplanker</a:t>
            </a:r>
            <a:endParaRPr lang="nb-NO" dirty="0"/>
          </a:p>
          <a:p>
            <a:pPr lvl="1"/>
            <a:r>
              <a:rPr lang="nb-NO" dirty="0"/>
              <a:t>Sikres videre med f.eks. krympeplast ved behov</a:t>
            </a:r>
          </a:p>
          <a:p>
            <a:r>
              <a:rPr lang="nb-NO" dirty="0"/>
              <a:t>Spikres </a:t>
            </a:r>
            <a:r>
              <a:rPr lang="nb-NO" b="1" dirty="0"/>
              <a:t>ikke</a:t>
            </a:r>
            <a:r>
              <a:rPr lang="nb-NO" dirty="0"/>
              <a:t> direkte i pallen</a:t>
            </a:r>
          </a:p>
          <a:p>
            <a:r>
              <a:rPr lang="nb-NO" dirty="0"/>
              <a:t>Én rad i høyden</a:t>
            </a:r>
          </a:p>
          <a:p>
            <a:r>
              <a:rPr lang="nb-NO" dirty="0"/>
              <a:t>Stables stående</a:t>
            </a:r>
          </a:p>
          <a:p>
            <a:r>
              <a:rPr lang="nb-NO" dirty="0"/>
              <a:t>Karm mot karm, og glass mot glass</a:t>
            </a:r>
          </a:p>
          <a:p>
            <a:r>
              <a:rPr lang="nb-NO" dirty="0"/>
              <a:t>Karmer som er pakket inntil glass sikres med støtdempende mellomlegg</a:t>
            </a:r>
          </a:p>
        </p:txBody>
      </p:sp>
      <p:pic>
        <p:nvPicPr>
          <p:cNvPr id="18" name="Plassholder for bilde 17" descr="Et bilde som inneholder utendørs, Landkjøretøy, kjøretøy, hjul&#10;&#10;Automatisk generert beskrivelse">
            <a:extLst>
              <a:ext uri="{FF2B5EF4-FFF2-40B4-BE49-F238E27FC236}">
                <a16:creationId xmlns:a16="http://schemas.microsoft.com/office/drawing/2014/main" id="{726A2531-AE32-0758-9989-26CE9432F3A9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363538"/>
            <a:ext cx="5616575" cy="6045200"/>
          </a:xfrm>
        </p:spPr>
      </p:pic>
    </p:spTree>
    <p:extLst>
      <p:ext uri="{BB962C8B-B14F-4D97-AF65-F5344CB8AC3E}">
        <p14:creationId xmlns:p14="http://schemas.microsoft.com/office/powerpoint/2010/main" val="3854634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114AABE8-CC2A-82AA-4EA1-658143CC28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uskeregler: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2F5CDAFA-4CEB-DF46-4929-3644C9513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bling av vinduer</a:t>
            </a:r>
            <a:br>
              <a:rPr lang="nb-NO" dirty="0"/>
            </a:br>
            <a:r>
              <a:rPr lang="nb-NO" dirty="0"/>
              <a:t>uten karm</a:t>
            </a:r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BFECF1C2-129A-1EEE-6A67-F9ABF9CB1FD7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nb-NO" dirty="0"/>
              <a:t>Én rad i høyden</a:t>
            </a:r>
          </a:p>
          <a:p>
            <a:r>
              <a:rPr lang="nb-NO" dirty="0"/>
              <a:t>Stables i utgangspunktet stående (men utøv skjønn for å redusere belastning, ref. bilde)</a:t>
            </a:r>
          </a:p>
          <a:p>
            <a:r>
              <a:rPr lang="nb-NO" dirty="0"/>
              <a:t>Ved store forskjeller, vurder å sikre vinduer av ulik størrelse med støtdempende mellomlegg</a:t>
            </a:r>
          </a:p>
          <a:p>
            <a:r>
              <a:rPr lang="nb-NO" dirty="0"/>
              <a:t>Kan også sikres med treramme på pall</a:t>
            </a:r>
          </a:p>
          <a:p>
            <a:pPr lvl="1"/>
            <a:r>
              <a:rPr lang="nb-NO" dirty="0"/>
              <a:t>Trerammen konstrueres stabilt nok til å stå selvstendig</a:t>
            </a:r>
          </a:p>
          <a:p>
            <a:pPr lvl="1"/>
            <a:r>
              <a:rPr lang="nb-NO" dirty="0"/>
              <a:t>Trerammen «låses fast i front» etter at siste rute stables</a:t>
            </a:r>
          </a:p>
          <a:p>
            <a:pPr lvl="1"/>
            <a:r>
              <a:rPr lang="nb-NO" dirty="0"/>
              <a:t>Dobbeltsjekk stabiliteten</a:t>
            </a:r>
          </a:p>
          <a:p>
            <a:pPr marL="0" indent="0">
              <a:buNone/>
            </a:pPr>
            <a:endParaRPr lang="nb-NO" dirty="0"/>
          </a:p>
        </p:txBody>
      </p:sp>
      <p:pic>
        <p:nvPicPr>
          <p:cNvPr id="5" name="Plassholder for bilde 4">
            <a:extLst>
              <a:ext uri="{FF2B5EF4-FFF2-40B4-BE49-F238E27FC236}">
                <a16:creationId xmlns:a16="http://schemas.microsoft.com/office/drawing/2014/main" id="{3212DF7C-B6AE-8338-FB98-FDEB698AD49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363538"/>
            <a:ext cx="5616575" cy="6045200"/>
          </a:xfrm>
        </p:spPr>
      </p:pic>
    </p:spTree>
    <p:extLst>
      <p:ext uri="{BB962C8B-B14F-4D97-AF65-F5344CB8AC3E}">
        <p14:creationId xmlns:p14="http://schemas.microsoft.com/office/powerpoint/2010/main" val="24958832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114AABE8-CC2A-82AA-4EA1-658143CC28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uskeregler: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2F5CDAFA-4CEB-DF46-4929-3644C9513E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prukket glass</a:t>
            </a:r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BFECF1C2-129A-1EEE-6A67-F9ABF9CB1FD7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nb-NO" dirty="0"/>
              <a:t>Knust glass i IBC</a:t>
            </a:r>
          </a:p>
          <a:p>
            <a:r>
              <a:rPr lang="nb-NO" dirty="0"/>
              <a:t>Sprukket glass teipes og sikres på pall/stativ</a:t>
            </a:r>
          </a:p>
          <a:p>
            <a:r>
              <a:rPr lang="nb-NO" dirty="0"/>
              <a:t>Ta hensyn til neste ledd i verdikjeden ved stabling og sikring av vinduer</a:t>
            </a:r>
          </a:p>
          <a:p>
            <a:r>
              <a:rPr lang="nb-NO" dirty="0">
                <a:highlight>
                  <a:srgbClr val="FFFFFF"/>
                </a:highlight>
              </a:rPr>
              <a:t>Spesialbestillinger ukurant størrelse </a:t>
            </a:r>
            <a:r>
              <a:rPr lang="nb-NO" dirty="0"/>
              <a:t>må avklares med lokale kontaktpersoner, </a:t>
            </a:r>
            <a:r>
              <a:rPr lang="nb-NO" dirty="0" err="1"/>
              <a:t>f.eks</a:t>
            </a:r>
            <a:r>
              <a:rPr lang="nb-NO" dirty="0"/>
              <a:t>:</a:t>
            </a:r>
          </a:p>
          <a:p>
            <a:pPr lvl="1"/>
            <a:r>
              <a:rPr lang="nb-NO" dirty="0"/>
              <a:t>Moderne ruter, for store for standard L-stativ</a:t>
            </a:r>
          </a:p>
          <a:p>
            <a:pPr lvl="1"/>
            <a:r>
              <a:rPr lang="nb-NO" dirty="0"/>
              <a:t>Knuste ruter, for store for IBC</a:t>
            </a:r>
          </a:p>
          <a:p>
            <a:pPr lvl="1"/>
            <a:r>
              <a:rPr lang="nb-NO" dirty="0"/>
              <a:t>Ruter som ikke er stablet forsvarlig</a:t>
            </a:r>
          </a:p>
          <a:p>
            <a:endParaRPr lang="nb-NO" dirty="0"/>
          </a:p>
        </p:txBody>
      </p:sp>
      <p:pic>
        <p:nvPicPr>
          <p:cNvPr id="6" name="Plassholder for bilde 5">
            <a:extLst>
              <a:ext uri="{FF2B5EF4-FFF2-40B4-BE49-F238E27FC236}">
                <a16:creationId xmlns:a16="http://schemas.microsoft.com/office/drawing/2014/main" id="{C28C1E9A-431E-A392-7162-AD64A71A79C6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363538"/>
            <a:ext cx="5616575" cy="6045200"/>
          </a:xfrm>
        </p:spPr>
      </p:pic>
    </p:spTree>
    <p:extLst>
      <p:ext uri="{BB962C8B-B14F-4D97-AF65-F5344CB8AC3E}">
        <p14:creationId xmlns:p14="http://schemas.microsoft.com/office/powerpoint/2010/main" val="41899347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konstruksjon, Manuell arbeider, person, arbeidsantrekk&#10;&#10;Automatisk generert beskrivelse">
            <a:extLst>
              <a:ext uri="{FF2B5EF4-FFF2-40B4-BE49-F238E27FC236}">
                <a16:creationId xmlns:a16="http://schemas.microsoft.com/office/drawing/2014/main" id="{EA13E7C6-8FCC-8F34-D74F-7003620818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0"/>
            <a:ext cx="12191980" cy="6858000"/>
          </a:xfrm>
          <a:custGeom>
            <a:avLst/>
            <a:gdLst>
              <a:gd name="connsiteX0" fmla="*/ 479424 w 12192000"/>
              <a:gd name="connsiteY0" fmla="*/ 1 h 6858000"/>
              <a:gd name="connsiteX1" fmla="*/ 479424 w 12192000"/>
              <a:gd name="connsiteY1" fmla="*/ 854422 h 6858000"/>
              <a:gd name="connsiteX2" fmla="*/ 1163424 w 12192000"/>
              <a:gd name="connsiteY2" fmla="*/ 854422 h 6858000"/>
              <a:gd name="connsiteX3" fmla="*/ 1163424 w 12192000"/>
              <a:gd name="connsiteY3" fmla="*/ 1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79424" y="1"/>
                </a:moveTo>
                <a:lnTo>
                  <a:pt x="479424" y="854422"/>
                </a:lnTo>
                <a:lnTo>
                  <a:pt x="1163424" y="854422"/>
                </a:lnTo>
                <a:lnTo>
                  <a:pt x="1163424" y="1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4CD2DB8-1EE8-71BE-F551-3BD823DD0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75490" y="0"/>
            <a:ext cx="3205872" cy="2090057"/>
          </a:xfrm>
        </p:spPr>
        <p:txBody>
          <a:bodyPr/>
          <a:lstStyle/>
          <a:p>
            <a:r>
              <a:rPr lang="en-US" dirty="0" err="1"/>
              <a:t>Knusebord</a:t>
            </a:r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DD9EAD1-68F1-724B-DFD7-CEEB66504B7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372556" y="2089356"/>
            <a:ext cx="3205872" cy="4768644"/>
          </a:xfrm>
        </p:spPr>
        <p:txBody>
          <a:bodyPr/>
          <a:lstStyle/>
          <a:p>
            <a:r>
              <a:rPr lang="en-US" dirty="0" err="1"/>
              <a:t>Manuell</a:t>
            </a:r>
            <a:r>
              <a:rPr lang="en-US" dirty="0"/>
              <a:t> </a:t>
            </a:r>
            <a:r>
              <a:rPr lang="en-US" dirty="0" err="1"/>
              <a:t>separering</a:t>
            </a:r>
            <a:r>
              <a:rPr lang="en-US" dirty="0"/>
              <a:t> av glass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rm</a:t>
            </a:r>
            <a:endParaRPr lang="en-US" dirty="0"/>
          </a:p>
          <a:p>
            <a:r>
              <a:rPr lang="en-US" dirty="0"/>
              <a:t>Farlig Avfall</a:t>
            </a:r>
          </a:p>
          <a:p>
            <a:r>
              <a:rPr lang="en-US" dirty="0" err="1"/>
              <a:t>Sikkerhet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risik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402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orsk Gjennvinnnig">
      <a:dk1>
        <a:srgbClr val="000000"/>
      </a:dk1>
      <a:lt1>
        <a:srgbClr val="FFFFFF"/>
      </a:lt1>
      <a:dk2>
        <a:srgbClr val="44546A"/>
      </a:dk2>
      <a:lt2>
        <a:srgbClr val="EDEEF1"/>
      </a:lt2>
      <a:accent1>
        <a:srgbClr val="FF6600"/>
      </a:accent1>
      <a:accent2>
        <a:srgbClr val="303017"/>
      </a:accent2>
      <a:accent3>
        <a:srgbClr val="FF8422"/>
      </a:accent3>
      <a:accent4>
        <a:srgbClr val="FFB280"/>
      </a:accent4>
      <a:accent5>
        <a:srgbClr val="5D5D5D"/>
      </a:accent5>
      <a:accent6>
        <a:srgbClr val="EDEEF1"/>
      </a:accent6>
      <a:hlink>
        <a:srgbClr val="FF6600"/>
      </a:hlink>
      <a:folHlink>
        <a:srgbClr val="FF66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8" id="{819CCFBA-9E12-724B-B687-14D266193DF2}" vid="{951C7925-8936-BC49-A98F-419FF11A9F04}"/>
    </a:ext>
  </a:extLst>
</a:theme>
</file>

<file path=ppt/theme/theme2.xml><?xml version="1.0" encoding="utf-8"?>
<a:theme xmlns:a="http://schemas.openxmlformats.org/drawingml/2006/main" name="NG-mal">
  <a:themeElements>
    <a:clrScheme name="NG-farger">
      <a:dk1>
        <a:sysClr val="windowText" lastClr="000000"/>
      </a:dk1>
      <a:lt1>
        <a:sysClr val="window" lastClr="FFFFFF"/>
      </a:lt1>
      <a:dk2>
        <a:srgbClr val="FA6400"/>
      </a:dk2>
      <a:lt2>
        <a:srgbClr val="D8D9DA"/>
      </a:lt2>
      <a:accent1>
        <a:srgbClr val="7F7F7F"/>
      </a:accent1>
      <a:accent2>
        <a:srgbClr val="FA6400"/>
      </a:accent2>
      <a:accent3>
        <a:srgbClr val="919195"/>
      </a:accent3>
      <a:accent4>
        <a:srgbClr val="FFC000"/>
      </a:accent4>
      <a:accent5>
        <a:srgbClr val="5B9BD5"/>
      </a:accent5>
      <a:accent6>
        <a:srgbClr val="70AD47"/>
      </a:accent6>
      <a:hlink>
        <a:srgbClr val="FFFFFF"/>
      </a:hlink>
      <a:folHlink>
        <a:srgbClr val="FFFFFF"/>
      </a:folHlink>
    </a:clrScheme>
    <a:fontScheme name="NG mal">
      <a:majorFont>
        <a:latin typeface="Arial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sjon mal_Norsk gjennvinning</Template>
  <TotalTime>1914</TotalTime>
  <Words>700</Words>
  <Application>Microsoft Office PowerPoint</Application>
  <PresentationFormat>Widescreen</PresentationFormat>
  <Paragraphs>151</Paragraphs>
  <Slides>19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9</vt:i4>
      </vt:variant>
    </vt:vector>
  </HeadingPairs>
  <TitlesOfParts>
    <vt:vector size="27" baseType="lpstr">
      <vt:lpstr>Arial</vt:lpstr>
      <vt:lpstr>Calibri</vt:lpstr>
      <vt:lpstr>Courier New</vt:lpstr>
      <vt:lpstr>Systemfont normal</vt:lpstr>
      <vt:lpstr>Wingdings</vt:lpstr>
      <vt:lpstr>Office-tema</vt:lpstr>
      <vt:lpstr>NG-mal</vt:lpstr>
      <vt:lpstr>think-cell Slide</vt:lpstr>
      <vt:lpstr>Materialgjenvinning av glass i Trøndelag</vt:lpstr>
      <vt:lpstr>PowerPoint-presentasjon</vt:lpstr>
      <vt:lpstr>Prosess isolerglassruter</vt:lpstr>
      <vt:lpstr>PowerPoint-presentasjon</vt:lpstr>
      <vt:lpstr>Stabling av vinduer på stativ</vt:lpstr>
      <vt:lpstr>Stabling av vinduer på pall</vt:lpstr>
      <vt:lpstr>Stabling av vinduer uten karm</vt:lpstr>
      <vt:lpstr>Sprukket glass</vt:lpstr>
      <vt:lpstr>PowerPoint-presentasjon</vt:lpstr>
      <vt:lpstr>Håndtering av laminert glass </vt:lpstr>
      <vt:lpstr>PowerPoint-presentasjon</vt:lpstr>
      <vt:lpstr>PowerPoint-presentasjon</vt:lpstr>
      <vt:lpstr>Glass i treramme , Rent Planglass og lignende</vt:lpstr>
      <vt:lpstr>PowerPoint-presentasjon</vt:lpstr>
      <vt:lpstr>PowerPoint-presentasjon</vt:lpstr>
      <vt:lpstr>Materialgjenvinningsprosessen hos Glava Stjørdal</vt:lpstr>
      <vt:lpstr>Enklere og mer effektiv hverdag for våre kunder med digitale kanaler og nettbaserte løsninger</vt:lpstr>
      <vt:lpstr>Bestillingsrutiner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dden page and will not show in print</dc:title>
  <dc:creator>Benjamin Pareau Dumont Hojem</dc:creator>
  <cp:lastModifiedBy>Braastad, Anne-Charlotte</cp:lastModifiedBy>
  <cp:revision>37</cp:revision>
  <dcterms:created xsi:type="dcterms:W3CDTF">2023-11-28T10:29:44Z</dcterms:created>
  <dcterms:modified xsi:type="dcterms:W3CDTF">2024-10-18T07:37:38Z</dcterms:modified>
</cp:coreProperties>
</file>